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0" r:id="rId2"/>
  </p:sldMasterIdLst>
  <p:sldIdLst>
    <p:sldId id="2147476960" r:id="rId3"/>
    <p:sldId id="2147476969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78" d="100"/>
          <a:sy n="78" d="100"/>
        </p:scale>
        <p:origin x="69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2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9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9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66BFF1A-72D6-4684-BD79-14B078D811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79818" y="3340062"/>
            <a:ext cx="8927922" cy="241151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CA" noProof="0"/>
              <a:t>Tit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D86CE8B0-0878-496F-8058-72DC049930CF}"/>
              </a:ext>
            </a:extLst>
          </p:cNvPr>
          <p:cNvGrpSpPr/>
          <p:nvPr userDrawn="1"/>
        </p:nvGrpSpPr>
        <p:grpSpPr>
          <a:xfrm>
            <a:off x="918324" y="541575"/>
            <a:ext cx="678933" cy="6316425"/>
            <a:chOff x="463086" y="0"/>
            <a:chExt cx="678933" cy="685800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9D725F9-CCE5-43DC-9875-2DD8273F55CF}"/>
                </a:ext>
              </a:extLst>
            </p:cNvPr>
            <p:cNvSpPr/>
            <p:nvPr userDrawn="1"/>
          </p:nvSpPr>
          <p:spPr>
            <a:xfrm>
              <a:off x="463087" y="0"/>
              <a:ext cx="490312" cy="34289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noProof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A4981D-AD3C-44C6-9628-73F4A92DAA73}"/>
                </a:ext>
              </a:extLst>
            </p:cNvPr>
            <p:cNvSpPr/>
            <p:nvPr userDrawn="1"/>
          </p:nvSpPr>
          <p:spPr>
            <a:xfrm>
              <a:off x="463086" y="5153527"/>
              <a:ext cx="490312" cy="170447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noProof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E934DFF-1EFD-40CB-9A71-D9564D8434DA}"/>
                </a:ext>
              </a:extLst>
            </p:cNvPr>
            <p:cNvSpPr/>
            <p:nvPr userDrawn="1"/>
          </p:nvSpPr>
          <p:spPr>
            <a:xfrm>
              <a:off x="651707" y="3038432"/>
              <a:ext cx="490312" cy="26182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noProof="0"/>
            </a:p>
          </p:txBody>
        </p:sp>
      </p:grp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57503616-0DBA-417C-8DB4-63DADA9FB8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9818" y="5835464"/>
            <a:ext cx="3522054" cy="475200"/>
          </a:xfrm>
          <a:prstGeom prst="rect">
            <a:avLst/>
          </a:prstGeom>
        </p:spPr>
        <p:txBody>
          <a:bodyPr>
            <a:noAutofit/>
          </a:bodyPr>
          <a:lstStyle>
            <a:lvl1pPr marL="0" indent="-3175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CA" noProof="0"/>
              <a:t>Date</a:t>
            </a:r>
          </a:p>
        </p:txBody>
      </p:sp>
      <p:pic>
        <p:nvPicPr>
          <p:cNvPr id="10" name="Graphic 8">
            <a:extLst>
              <a:ext uri="{FF2B5EF4-FFF2-40B4-BE49-F238E27FC236}">
                <a16:creationId xmlns:a16="http://schemas.microsoft.com/office/drawing/2014/main" id="{268E8664-6DDD-40B6-8D6A-0D99253DEC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16665" y="597522"/>
            <a:ext cx="1955820" cy="570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2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- 2 subtitles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397067C-36F5-47E7-BA66-9B72785BF58B}"/>
              </a:ext>
            </a:extLst>
          </p:cNvPr>
          <p:cNvSpPr/>
          <p:nvPr userDrawn="1"/>
        </p:nvSpPr>
        <p:spPr>
          <a:xfrm>
            <a:off x="8250282" y="-1"/>
            <a:ext cx="3941717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479C4C5-F881-4DF4-9860-F91726908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6960347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007B4C-98B3-4DD7-873A-BCAA1856A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49" y="0"/>
            <a:ext cx="6999845" cy="102275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329785-3B74-463F-A042-133190601F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9949" y="2120900"/>
            <a:ext cx="6999846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B14900E-A07C-4748-85AA-479F638F78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6F6E2-B7DB-4C8B-A79C-B216232DD2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49" y="1333500"/>
            <a:ext cx="6999846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A511AD0-2316-46C0-BE9C-44B1C3445A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0769" y="1333500"/>
            <a:ext cx="2907181" cy="46609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1621AD-6D36-4A98-88AD-D8048E069A17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FFE1B3A-8259-4232-B1A3-3D71C9DEFC92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BC2506-6599-42E3-ABA1-DFC1646F6528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22330F5-EC19-4FB2-ABAA-6BB0EF4EE9CC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pic>
        <p:nvPicPr>
          <p:cNvPr id="19" name="Graphic 8">
            <a:extLst>
              <a:ext uri="{FF2B5EF4-FFF2-40B4-BE49-F238E27FC236}">
                <a16:creationId xmlns:a16="http://schemas.microsoft.com/office/drawing/2014/main" id="{83E23CA2-760D-4CFD-9CBB-7DCEF8548D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2695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- 2 subtitles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397067C-36F5-47E7-BA66-9B72785BF58B}"/>
              </a:ext>
            </a:extLst>
          </p:cNvPr>
          <p:cNvSpPr/>
          <p:nvPr userDrawn="1"/>
        </p:nvSpPr>
        <p:spPr>
          <a:xfrm>
            <a:off x="8250282" y="-1"/>
            <a:ext cx="3941717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479C4C5-F881-4DF4-9860-F91726908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6960347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007B4C-98B3-4DD7-873A-BCAA1856A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49" y="0"/>
            <a:ext cx="6999845" cy="102275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329785-3B74-463F-A042-133190601F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9949" y="2120900"/>
            <a:ext cx="6999846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B14900E-A07C-4748-85AA-479F638F78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6F6E2-B7DB-4C8B-A79C-B216232DD2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49" y="1333500"/>
            <a:ext cx="6999846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A511AD0-2316-46C0-BE9C-44B1C3445A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0769" y="1333500"/>
            <a:ext cx="2907181" cy="46609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1621AD-6D36-4A98-88AD-D8048E069A17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FFE1B3A-8259-4232-B1A3-3D71C9DEFC92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BC2506-6599-42E3-ABA1-DFC1646F6528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22330F5-EC19-4FB2-ABAA-6BB0EF4EE9CC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pic>
        <p:nvPicPr>
          <p:cNvPr id="19" name="Graphic 8">
            <a:extLst>
              <a:ext uri="{FF2B5EF4-FFF2-40B4-BE49-F238E27FC236}">
                <a16:creationId xmlns:a16="http://schemas.microsoft.com/office/drawing/2014/main" id="{83E23CA2-760D-4CFD-9CBB-7DCEF8548D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8455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6815653-7703-49A7-91A6-AF03E50349F3}"/>
              </a:ext>
            </a:extLst>
          </p:cNvPr>
          <p:cNvSpPr/>
          <p:nvPr userDrawn="1"/>
        </p:nvSpPr>
        <p:spPr>
          <a:xfrm>
            <a:off x="8258303" y="0"/>
            <a:ext cx="393369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883C384A-134B-A24B-A961-32DB6521AD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5974" y="688875"/>
            <a:ext cx="5117361" cy="548015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D9D3BFC-7047-488F-820E-FEFB83CCF2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9950" y="2120900"/>
            <a:ext cx="5226050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1CFF101-C258-47CF-ABAE-2BD00D21AE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5226050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10ADA53-8932-4DF6-B84D-A98535B30F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EF211B7-FEB9-4DFE-AC71-EE9DFE188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0" y="0"/>
            <a:ext cx="5226050" cy="102275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CC5070A-6483-4522-A06C-736AC43B4B8B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0B452F6-5CD5-46DD-84DE-506B1B1E2FA5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747FAF8-B59F-4C2A-9CA5-1FE5E36072AA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7DD0974-A5EA-4BAA-82B6-0FD5163C8F76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6D57AF67-FAA0-450B-8334-A106A2F6F9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3853309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6815653-7703-49A7-91A6-AF03E50349F3}"/>
              </a:ext>
            </a:extLst>
          </p:cNvPr>
          <p:cNvSpPr/>
          <p:nvPr userDrawn="1"/>
        </p:nvSpPr>
        <p:spPr>
          <a:xfrm>
            <a:off x="8258303" y="0"/>
            <a:ext cx="3933698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883C384A-134B-A24B-A961-32DB6521AD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5974" y="688875"/>
            <a:ext cx="5117361" cy="548015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D9D3BFC-7047-488F-820E-FEFB83CCF2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9950" y="2120900"/>
            <a:ext cx="5226050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1CFF101-C258-47CF-ABAE-2BD00D21AE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5226050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10ADA53-8932-4DF6-B84D-A98535B30F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EF211B7-FEB9-4DFE-AC71-EE9DFE188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0" y="0"/>
            <a:ext cx="5226050" cy="102275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CC5070A-6483-4522-A06C-736AC43B4B8B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0B452F6-5CD5-46DD-84DE-506B1B1E2FA5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747FAF8-B59F-4C2A-9CA5-1FE5E36072AA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7DD0974-A5EA-4BAA-82B6-0FD5163C8F76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0C515E2B-B5D1-4229-BDFA-997A042483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9" y="6257993"/>
            <a:ext cx="5186552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2823327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6815653-7703-49A7-91A6-AF03E50349F3}"/>
              </a:ext>
            </a:extLst>
          </p:cNvPr>
          <p:cNvSpPr/>
          <p:nvPr userDrawn="1"/>
        </p:nvSpPr>
        <p:spPr>
          <a:xfrm>
            <a:off x="8258303" y="0"/>
            <a:ext cx="393369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883C384A-134B-A24B-A961-32DB6521AD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5974" y="688875"/>
            <a:ext cx="5117361" cy="548015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9D9D3BFC-7047-488F-820E-FEFB83CCF2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9950" y="2120900"/>
            <a:ext cx="5226050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1CFF101-C258-47CF-ABAE-2BD00D21AE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5226050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10ADA53-8932-4DF6-B84D-A98535B30F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EF211B7-FEB9-4DFE-AC71-EE9DFE188C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0" y="0"/>
            <a:ext cx="5226050" cy="102275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CC5070A-6483-4522-A06C-736AC43B4B8B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0B452F6-5CD5-46DD-84DE-506B1B1E2FA5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747FAF8-B59F-4C2A-9CA5-1FE5E36072AA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7DD0974-A5EA-4BAA-82B6-0FD5163C8F76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0C515E2B-B5D1-4229-BDFA-997A042483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9" y="6257993"/>
            <a:ext cx="5186552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3409586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6DEB24A-CF03-8049-BB9E-D6801F31C2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0076" y="2721721"/>
            <a:ext cx="4527874" cy="3475879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1800" b="0" i="0" baseline="0">
                <a:solidFill>
                  <a:srgbClr val="231F20"/>
                </a:solidFill>
                <a:latin typeface="Arial" panose="020B0604020202020204" pitchFamily="34" charset="0"/>
              </a:defRPr>
            </a:lvl1pPr>
            <a:lvl2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1800"/>
            </a:lvl2pPr>
          </a:lstStyle>
          <a:p>
            <a:pPr lvl="0"/>
            <a:r>
              <a:rPr lang="en-CA" noProof="0"/>
              <a:t>Bullet 1</a:t>
            </a:r>
          </a:p>
          <a:p>
            <a:pPr lvl="0"/>
            <a:r>
              <a:rPr lang="en-CA" noProof="0"/>
              <a:t>Bullet 2</a:t>
            </a:r>
          </a:p>
          <a:p>
            <a:pPr lvl="0"/>
            <a:r>
              <a:rPr lang="en-CA" noProof="0"/>
              <a:t>Bullet 3</a:t>
            </a:r>
          </a:p>
          <a:p>
            <a:pPr lvl="0"/>
            <a:endParaRPr lang="en-CA" noProof="0"/>
          </a:p>
          <a:p>
            <a:pPr lvl="1"/>
            <a:endParaRPr lang="en-CA" noProof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E7DA15D2-34EB-4C7E-918B-F0FC20A811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10077" y="1505178"/>
            <a:ext cx="4527872" cy="102499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 i="0" cap="none" baseline="0">
                <a:solidFill>
                  <a:srgbClr val="E03127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2000" cap="all" baseline="0">
                <a:latin typeface="+mn-lt"/>
              </a:defRPr>
            </a:lvl2pPr>
          </a:lstStyle>
          <a:p>
            <a:pPr lvl="0"/>
            <a:r>
              <a:rPr lang="en-CA" noProof="0"/>
              <a:t>Sub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0B7B6DC-1829-4E37-886E-5B41D4E411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17956" y="1812287"/>
            <a:ext cx="4037842" cy="4037842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251036-E91A-48AF-984D-8A6D7F20D4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/>
            <a:fld id="{D8D877B3-D348-4611-9BDB-C5374591D951}" type="slidenum">
              <a:rPr lang="en-CA" noProof="0" smtClean="0"/>
              <a:pPr algn="r"/>
              <a:t>‹#›</a:t>
            </a:fld>
            <a:endParaRPr lang="en-CA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631CCCA-3D4F-40E1-9E5E-ED2003D67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C541039-A152-4E22-AFAF-BFA12B959582}"/>
              </a:ext>
            </a:extLst>
          </p:cNvPr>
          <p:cNvCxnSpPr/>
          <p:nvPr userDrawn="1"/>
        </p:nvCxnSpPr>
        <p:spPr>
          <a:xfrm>
            <a:off x="12284243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8D1CDA31-38C4-4CA5-AC55-9942BB9D33BD}"/>
              </a:ext>
            </a:extLst>
          </p:cNvPr>
          <p:cNvSpPr txBox="1"/>
          <p:nvPr userDrawn="1"/>
        </p:nvSpPr>
        <p:spPr>
          <a:xfrm>
            <a:off x="12200021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C0516D6-9E94-4F4C-ABC3-F4078225EB2B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0FA3F91-1444-4A13-BA2D-DBF485F04F24}"/>
              </a:ext>
            </a:extLst>
          </p:cNvPr>
          <p:cNvSpPr txBox="1"/>
          <p:nvPr userDrawn="1"/>
        </p:nvSpPr>
        <p:spPr>
          <a:xfrm>
            <a:off x="-1013156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7A049344-1299-40D4-9AED-133A1C83E2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14284852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12266E-8C8F-45C1-BF9F-9A715A7F73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E4A901-E55C-4A3C-BD75-B5C877201C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8D877B3-D348-4611-9BDB-C5374591D951}" type="slidenum">
              <a:rPr lang="en-CA" noProof="0" smtClean="0"/>
              <a:pPr algn="r"/>
              <a:t>‹#›</a:t>
            </a:fld>
            <a:endParaRPr lang="en-CA" noProof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4260AAB-C4D5-4040-A6B8-C4B60AE2DEFC}"/>
              </a:ext>
            </a:extLst>
          </p:cNvPr>
          <p:cNvCxnSpPr/>
          <p:nvPr userDrawn="1"/>
        </p:nvCxnSpPr>
        <p:spPr>
          <a:xfrm>
            <a:off x="12284243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479A523-ED90-48A4-A41E-3BCC4A40D256}"/>
              </a:ext>
            </a:extLst>
          </p:cNvPr>
          <p:cNvSpPr txBox="1"/>
          <p:nvPr userDrawn="1"/>
        </p:nvSpPr>
        <p:spPr>
          <a:xfrm>
            <a:off x="12200021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1F25C18-D71D-4FAD-A60E-881278F78D77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7EEF6317-0472-44ED-94A5-2F8574D85800}"/>
              </a:ext>
            </a:extLst>
          </p:cNvPr>
          <p:cNvSpPr txBox="1"/>
          <p:nvPr userDrawn="1"/>
        </p:nvSpPr>
        <p:spPr>
          <a:xfrm>
            <a:off x="-1013156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10" name="Espace réservé du texte 8">
            <a:extLst>
              <a:ext uri="{FF2B5EF4-FFF2-40B4-BE49-F238E27FC236}">
                <a16:creationId xmlns:a16="http://schemas.microsoft.com/office/drawing/2014/main" id="{D7DF416D-B957-4370-AE4D-476C621B68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21096924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C333A2-3189-48BD-95B6-30FAD3CF8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07F46D2-56B7-4CF3-9A92-F5CD8D4E9F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9950" y="2120900"/>
            <a:ext cx="3257550" cy="4062186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4AFAB-73C1-4A47-8922-14DED071553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3257550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BF9B8266-D29D-44B6-A947-9D4538EFBE2D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813300" y="1333500"/>
            <a:ext cx="6724650" cy="4849586"/>
          </a:xfrm>
        </p:spPr>
        <p:txBody>
          <a:bodyPr anchor="ctr"/>
          <a:lstStyle>
            <a:lvl1pPr algn="ctr">
              <a:buNone/>
              <a:defRPr sz="1200"/>
            </a:lvl1pPr>
          </a:lstStyle>
          <a:p>
            <a:r>
              <a:rPr lang="en-US" noProof="0"/>
              <a:t>Click icon to add table</a:t>
            </a:r>
            <a:endParaRPr lang="en-CA" noProof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B110CD3-C2AE-4F71-8F60-B7874CA8CCE5}"/>
              </a:ext>
            </a:extLst>
          </p:cNvPr>
          <p:cNvCxnSpPr/>
          <p:nvPr userDrawn="1"/>
        </p:nvCxnSpPr>
        <p:spPr>
          <a:xfrm>
            <a:off x="12284243" y="1328730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D411E87-7A00-4746-9EC3-AA4E551265A0}"/>
              </a:ext>
            </a:extLst>
          </p:cNvPr>
          <p:cNvSpPr txBox="1"/>
          <p:nvPr userDrawn="1"/>
        </p:nvSpPr>
        <p:spPr>
          <a:xfrm>
            <a:off x="12200021" y="1348700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9406C81-C910-498F-9F98-933E108E4EFE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328730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C2779-91A0-46E0-A1B3-7826FC3DE890}"/>
              </a:ext>
            </a:extLst>
          </p:cNvPr>
          <p:cNvSpPr txBox="1"/>
          <p:nvPr userDrawn="1"/>
        </p:nvSpPr>
        <p:spPr>
          <a:xfrm>
            <a:off x="-1013156" y="1348700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E1A3AFC5-7F04-408B-808A-FCF31AB8BD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1461618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C333A2-3189-48BD-95B6-30FAD3CF8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7" name="Table Placeholder 4">
            <a:extLst>
              <a:ext uri="{FF2B5EF4-FFF2-40B4-BE49-F238E27FC236}">
                <a16:creationId xmlns:a16="http://schemas.microsoft.com/office/drawing/2014/main" id="{B0422A8D-056C-4417-B8E5-E2064FFF2E5D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869950" y="1592262"/>
            <a:ext cx="10668000" cy="4402138"/>
          </a:xfrm>
        </p:spPr>
        <p:txBody>
          <a:bodyPr anchor="ctr">
            <a:normAutofit/>
          </a:bodyPr>
          <a:lstStyle>
            <a:lvl1pPr algn="ctr">
              <a:buFontTx/>
              <a:buNone/>
              <a:defRPr sz="1400"/>
            </a:lvl1pPr>
          </a:lstStyle>
          <a:p>
            <a:r>
              <a:rPr lang="en-US" noProof="0"/>
              <a:t>Click icon to add table</a:t>
            </a:r>
            <a:endParaRPr lang="en-CA" noProof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280B58-CB65-4EEF-8650-FD712B390795}"/>
              </a:ext>
            </a:extLst>
          </p:cNvPr>
          <p:cNvCxnSpPr/>
          <p:nvPr userDrawn="1"/>
        </p:nvCxnSpPr>
        <p:spPr>
          <a:xfrm>
            <a:off x="12284243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DDF8C9B-EBAD-407D-B085-305268B0DD7B}"/>
              </a:ext>
            </a:extLst>
          </p:cNvPr>
          <p:cNvSpPr txBox="1"/>
          <p:nvPr userDrawn="1"/>
        </p:nvSpPr>
        <p:spPr>
          <a:xfrm>
            <a:off x="12200021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4F6FCAF-9404-42D6-82EA-E40B5F47FD3A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6A0D07E-38B0-4749-8ACD-44DE961394BA}"/>
              </a:ext>
            </a:extLst>
          </p:cNvPr>
          <p:cNvSpPr txBox="1"/>
          <p:nvPr userDrawn="1"/>
        </p:nvSpPr>
        <p:spPr>
          <a:xfrm>
            <a:off x="-1013156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46E1564-730A-458B-A0A2-7F5DCD7C1D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19957261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8ECA70B-E2D6-4004-BB49-0442F6D3F3C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4502151" y="142615"/>
            <a:ext cx="7556304" cy="6572765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anchor="ctr">
            <a:normAutofit/>
          </a:bodyPr>
          <a:lstStyle>
            <a:lvl1pPr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Click on the icon to add an imag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869950" y="642237"/>
            <a:ext cx="3225800" cy="353061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800" baseline="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CA" noProof="0"/>
              <a:t>Section</a:t>
            </a:r>
            <a:br>
              <a:rPr lang="en-CA" noProof="0"/>
            </a:br>
            <a:r>
              <a:rPr lang="en-CA" noProof="0"/>
              <a:t>Title</a:t>
            </a:r>
          </a:p>
        </p:txBody>
      </p:sp>
      <p:cxnSp>
        <p:nvCxnSpPr>
          <p:cNvPr id="11" name="Straight Connector 8">
            <a:extLst>
              <a:ext uri="{FF2B5EF4-FFF2-40B4-BE49-F238E27FC236}">
                <a16:creationId xmlns:a16="http://schemas.microsoft.com/office/drawing/2014/main" id="{DDD5C45A-F6ED-446B-8249-FCB54AD96196}"/>
              </a:ext>
            </a:extLst>
          </p:cNvPr>
          <p:cNvCxnSpPr>
            <a:cxnSpLocks/>
          </p:cNvCxnSpPr>
          <p:nvPr userDrawn="1"/>
        </p:nvCxnSpPr>
        <p:spPr>
          <a:xfrm>
            <a:off x="869950" y="4318000"/>
            <a:ext cx="742950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43D90B7-5CBC-4ABE-9527-A1AD9A4183D5}"/>
              </a:ext>
            </a:extLst>
          </p:cNvPr>
          <p:cNvSpPr/>
          <p:nvPr userDrawn="1"/>
        </p:nvSpPr>
        <p:spPr>
          <a:xfrm>
            <a:off x="0" y="0"/>
            <a:ext cx="1335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pic>
        <p:nvPicPr>
          <p:cNvPr id="16" name="Graphic 8">
            <a:extLst>
              <a:ext uri="{FF2B5EF4-FFF2-40B4-BE49-F238E27FC236}">
                <a16:creationId xmlns:a16="http://schemas.microsoft.com/office/drawing/2014/main" id="{FE7D6E0F-908D-4F76-A6D1-99C22AFD03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89666" y="6374727"/>
            <a:ext cx="706084" cy="2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925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66BFF1A-72D6-4684-BD79-14B078D811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37261" y="3340062"/>
            <a:ext cx="4274955" cy="241151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CA" noProof="0"/>
              <a:t>Tit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D86CE8B0-0878-496F-8058-72DC049930CF}"/>
              </a:ext>
            </a:extLst>
          </p:cNvPr>
          <p:cNvGrpSpPr/>
          <p:nvPr userDrawn="1"/>
        </p:nvGrpSpPr>
        <p:grpSpPr>
          <a:xfrm>
            <a:off x="5875767" y="541575"/>
            <a:ext cx="678933" cy="6316425"/>
            <a:chOff x="463086" y="0"/>
            <a:chExt cx="678933" cy="685800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9D725F9-CCE5-43DC-9875-2DD8273F55CF}"/>
                </a:ext>
              </a:extLst>
            </p:cNvPr>
            <p:cNvSpPr/>
            <p:nvPr userDrawn="1"/>
          </p:nvSpPr>
          <p:spPr>
            <a:xfrm>
              <a:off x="463087" y="0"/>
              <a:ext cx="490312" cy="34289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noProof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A4981D-AD3C-44C6-9628-73F4A92DAA73}"/>
                </a:ext>
              </a:extLst>
            </p:cNvPr>
            <p:cNvSpPr/>
            <p:nvPr userDrawn="1"/>
          </p:nvSpPr>
          <p:spPr>
            <a:xfrm>
              <a:off x="463086" y="5153527"/>
              <a:ext cx="490312" cy="170447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noProof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E934DFF-1EFD-40CB-9A71-D9564D8434DA}"/>
                </a:ext>
              </a:extLst>
            </p:cNvPr>
            <p:cNvSpPr/>
            <p:nvPr userDrawn="1"/>
          </p:nvSpPr>
          <p:spPr>
            <a:xfrm>
              <a:off x="651707" y="3038432"/>
              <a:ext cx="490312" cy="26182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noProof="0"/>
            </a:p>
          </p:txBody>
        </p:sp>
      </p:grp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57503616-0DBA-417C-8DB4-63DADA9FB8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7261" y="5835464"/>
            <a:ext cx="3522054" cy="475200"/>
          </a:xfrm>
          <a:prstGeom prst="rect">
            <a:avLst/>
          </a:prstGeom>
        </p:spPr>
        <p:txBody>
          <a:bodyPr>
            <a:noAutofit/>
          </a:bodyPr>
          <a:lstStyle>
            <a:lvl1pPr marL="0" indent="-3175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CA" noProof="0"/>
              <a:t>Date</a:t>
            </a:r>
          </a:p>
        </p:txBody>
      </p:sp>
      <p:pic>
        <p:nvPicPr>
          <p:cNvPr id="10" name="Graphic 8">
            <a:extLst>
              <a:ext uri="{FF2B5EF4-FFF2-40B4-BE49-F238E27FC236}">
                <a16:creationId xmlns:a16="http://schemas.microsoft.com/office/drawing/2014/main" id="{268E8664-6DDD-40B6-8D6A-0D99253DEC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16665" y="597522"/>
            <a:ext cx="1955820" cy="570630"/>
          </a:xfrm>
          <a:prstGeom prst="rect">
            <a:avLst/>
          </a:prstGeom>
        </p:spPr>
      </p:pic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CB72620D-2C78-4382-93A6-052DE2FA10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604" y="688874"/>
            <a:ext cx="5003595" cy="5621789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9833331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70CB6E1-2154-4F0F-8D89-105567C9C5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  <p:cxnSp>
        <p:nvCxnSpPr>
          <p:cNvPr id="11" name="Straight Connector 8">
            <a:extLst>
              <a:ext uri="{FF2B5EF4-FFF2-40B4-BE49-F238E27FC236}">
                <a16:creationId xmlns:a16="http://schemas.microsoft.com/office/drawing/2014/main" id="{B667361A-397B-49A2-936F-CB063E566265}"/>
              </a:ext>
            </a:extLst>
          </p:cNvPr>
          <p:cNvCxnSpPr>
            <a:cxnSpLocks/>
          </p:cNvCxnSpPr>
          <p:nvPr userDrawn="1"/>
        </p:nvCxnSpPr>
        <p:spPr>
          <a:xfrm>
            <a:off x="869950" y="4318000"/>
            <a:ext cx="742950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7BAB1D6-B162-4861-A91F-40AFC8AC27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9950" y="865197"/>
            <a:ext cx="8931275" cy="3333320"/>
          </a:xfrm>
        </p:spPr>
        <p:txBody>
          <a:bodyPr anchor="b" anchorCtr="0">
            <a:noAutofit/>
          </a:bodyPr>
          <a:lstStyle>
            <a:lvl1pPr marL="0" indent="0">
              <a:buFontTx/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39E1C5-AE63-4AA4-AE1E-0CA26F8452DE}"/>
              </a:ext>
            </a:extLst>
          </p:cNvPr>
          <p:cNvSpPr/>
          <p:nvPr userDrawn="1"/>
        </p:nvSpPr>
        <p:spPr>
          <a:xfrm>
            <a:off x="0" y="0"/>
            <a:ext cx="1335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8855437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470CB6E1-2154-4F0F-8D89-105567C9C5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  <p:cxnSp>
        <p:nvCxnSpPr>
          <p:cNvPr id="11" name="Straight Connector 8">
            <a:extLst>
              <a:ext uri="{FF2B5EF4-FFF2-40B4-BE49-F238E27FC236}">
                <a16:creationId xmlns:a16="http://schemas.microsoft.com/office/drawing/2014/main" id="{B667361A-397B-49A2-936F-CB063E566265}"/>
              </a:ext>
            </a:extLst>
          </p:cNvPr>
          <p:cNvCxnSpPr>
            <a:cxnSpLocks/>
          </p:cNvCxnSpPr>
          <p:nvPr userDrawn="1"/>
        </p:nvCxnSpPr>
        <p:spPr>
          <a:xfrm>
            <a:off x="869950" y="4318000"/>
            <a:ext cx="742950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7BAB1D6-B162-4861-A91F-40AFC8AC273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9950" y="865197"/>
            <a:ext cx="8931275" cy="3333320"/>
          </a:xfrm>
        </p:spPr>
        <p:txBody>
          <a:bodyPr anchor="b" anchorCtr="0">
            <a:noAutofit/>
          </a:bodyPr>
          <a:lstStyle>
            <a:lvl1pPr marL="0" indent="0">
              <a:buFontTx/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CA" noProof="0"/>
              <a:t>Section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39E1C5-AE63-4AA4-AE1E-0CA26F8452DE}"/>
              </a:ext>
            </a:extLst>
          </p:cNvPr>
          <p:cNvSpPr/>
          <p:nvPr userDrawn="1"/>
        </p:nvSpPr>
        <p:spPr>
          <a:xfrm>
            <a:off x="0" y="0"/>
            <a:ext cx="13354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5683820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or P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12FB1A73-2FE0-4E2B-BC5C-D40D97146C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9950" y="2120900"/>
            <a:ext cx="3257550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587117A-3FF3-4784-96A2-FCAC757FB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3257550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F81AEB74-CF68-473A-8964-7E826626BDC1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813300" y="1333500"/>
            <a:ext cx="6724650" cy="4660900"/>
          </a:xfrm>
        </p:spPr>
        <p:txBody>
          <a:bodyPr anchor="ctr">
            <a:normAutofit/>
          </a:bodyPr>
          <a:lstStyle>
            <a:lvl1pPr algn="ctr">
              <a:buNone/>
              <a:defRPr sz="1200"/>
            </a:lvl1pPr>
          </a:lstStyle>
          <a:p>
            <a:r>
              <a:rPr lang="en-CA" noProof="0"/>
              <a:t>Click icon to add grap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AF8396-41DC-4E47-BC39-55EE237B88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974231F-07CC-4435-93A5-4F13F22D9E3C}"/>
              </a:ext>
            </a:extLst>
          </p:cNvPr>
          <p:cNvCxnSpPr/>
          <p:nvPr userDrawn="1"/>
        </p:nvCxnSpPr>
        <p:spPr>
          <a:xfrm>
            <a:off x="12284243" y="1328730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15A053D-DFA9-47DD-8219-99D125457ADF}"/>
              </a:ext>
            </a:extLst>
          </p:cNvPr>
          <p:cNvSpPr txBox="1"/>
          <p:nvPr userDrawn="1"/>
        </p:nvSpPr>
        <p:spPr>
          <a:xfrm>
            <a:off x="12200021" y="1348700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4A1D127-641E-4A4F-B152-D728FB5AF03B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328730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ACC757A-EFC8-438B-8B0D-5C7C22C7CDD4}"/>
              </a:ext>
            </a:extLst>
          </p:cNvPr>
          <p:cNvSpPr txBox="1"/>
          <p:nvPr userDrawn="1"/>
        </p:nvSpPr>
        <p:spPr>
          <a:xfrm>
            <a:off x="-1013156" y="1348700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B2140B95-953F-4FFC-9885-D90AD4626E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37043682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or 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9D98C7-9D4A-4451-8C6A-A44171AE9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7" name="Chart Placeholder 4">
            <a:extLst>
              <a:ext uri="{FF2B5EF4-FFF2-40B4-BE49-F238E27FC236}">
                <a16:creationId xmlns:a16="http://schemas.microsoft.com/office/drawing/2014/main" id="{0A161968-3101-411A-9EB0-C2F7D6E45447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869950" y="1592262"/>
            <a:ext cx="10668000" cy="4402137"/>
          </a:xfrm>
        </p:spPr>
        <p:txBody>
          <a:bodyPr anchor="ctr">
            <a:normAutofit/>
          </a:bodyPr>
          <a:lstStyle>
            <a:lvl1pPr algn="ctr">
              <a:buNone/>
              <a:defRPr sz="1200"/>
            </a:lvl1pPr>
          </a:lstStyle>
          <a:p>
            <a:r>
              <a:rPr lang="en-CA" noProof="0"/>
              <a:t>Click icon to add graph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7331012-DC94-47AA-AD89-45A9A36E6F3C}"/>
              </a:ext>
            </a:extLst>
          </p:cNvPr>
          <p:cNvCxnSpPr/>
          <p:nvPr userDrawn="1"/>
        </p:nvCxnSpPr>
        <p:spPr>
          <a:xfrm>
            <a:off x="12284243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97FC93B-585E-4DC7-86C4-2D1CE551370F}"/>
              </a:ext>
            </a:extLst>
          </p:cNvPr>
          <p:cNvSpPr txBox="1"/>
          <p:nvPr userDrawn="1"/>
        </p:nvSpPr>
        <p:spPr>
          <a:xfrm>
            <a:off x="12200021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3BD9A87-11D4-431D-A268-A0AB7C72826D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AFF2973-D671-48AC-B249-33C47917F256}"/>
              </a:ext>
            </a:extLst>
          </p:cNvPr>
          <p:cNvSpPr txBox="1"/>
          <p:nvPr userDrawn="1"/>
        </p:nvSpPr>
        <p:spPr>
          <a:xfrm>
            <a:off x="-1013156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10" name="Espace réservé du texte 8">
            <a:extLst>
              <a:ext uri="{FF2B5EF4-FFF2-40B4-BE49-F238E27FC236}">
                <a16:creationId xmlns:a16="http://schemas.microsoft.com/office/drawing/2014/main" id="{FF1C6E62-3554-4048-9681-D2EB4DE97F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30586457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Proxima Nova" panose="020B0503030502060204" pitchFamily="34" charset="0"/>
              </a:defRPr>
            </a:lvl1pPr>
          </a:lstStyle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9EC582B-9E16-1046-BE34-2EAE3909DC86}"/>
              </a:ext>
            </a:extLst>
          </p:cNvPr>
          <p:cNvSpPr>
            <a:spLocks noChangeAspect="1"/>
          </p:cNvSpPr>
          <p:nvPr userDrawn="1"/>
        </p:nvSpPr>
        <p:spPr>
          <a:xfrm>
            <a:off x="911967" y="2441144"/>
            <a:ext cx="2841868" cy="2841868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CA" noProof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3DF6AA9-AEC6-BD4C-A893-C320F3742427}"/>
              </a:ext>
            </a:extLst>
          </p:cNvPr>
          <p:cNvSpPr>
            <a:spLocks noChangeAspect="1"/>
          </p:cNvSpPr>
          <p:nvPr userDrawn="1"/>
        </p:nvSpPr>
        <p:spPr>
          <a:xfrm>
            <a:off x="4675066" y="2441144"/>
            <a:ext cx="2841868" cy="2841868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CA" noProof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976DF9A-AC74-884E-8E35-3236CEB9E94D}"/>
              </a:ext>
            </a:extLst>
          </p:cNvPr>
          <p:cNvSpPr>
            <a:spLocks noChangeAspect="1"/>
          </p:cNvSpPr>
          <p:nvPr userDrawn="1"/>
        </p:nvSpPr>
        <p:spPr>
          <a:xfrm>
            <a:off x="8640417" y="2441144"/>
            <a:ext cx="2841868" cy="2841868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CA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0C68D73-20AE-444F-94C4-70A489F38E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9950" y="2399126"/>
            <a:ext cx="2932510" cy="293251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solidFill>
                  <a:srgbClr val="231F20"/>
                </a:solidFill>
                <a:latin typeface="Arial" panose="020B0604020202020204" pitchFamily="34" charset="0"/>
              </a:defRPr>
            </a:lvl1pPr>
            <a:lvl2pPr algn="ctr">
              <a:defRPr/>
            </a:lvl2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17B4C38-514A-FB46-8852-FA92D4D2DF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05440" y="2406445"/>
            <a:ext cx="2932510" cy="293251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solidFill>
                  <a:srgbClr val="231F20"/>
                </a:solidFill>
                <a:latin typeface="Arial" panose="020B0604020202020204" pitchFamily="34" charset="0"/>
              </a:defRPr>
            </a:lvl1pPr>
            <a:lvl2pPr algn="ctr">
              <a:defRPr/>
            </a:lvl2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564B694-F2F1-D34F-BB52-215CC85429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3639" y="2405924"/>
            <a:ext cx="2932510" cy="293251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buNone/>
              <a:defRPr sz="1800" b="1" i="0" baseline="0">
                <a:solidFill>
                  <a:srgbClr val="231F20"/>
                </a:solidFill>
                <a:latin typeface="Arial" panose="020B0604020202020204" pitchFamily="34" charset="0"/>
              </a:defRPr>
            </a:lvl1pPr>
            <a:lvl2pPr algn="ctr">
              <a:defRPr/>
            </a:lvl2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8C853E-E1B2-4DEF-8E4B-AF4FE723F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B562F2-924E-461B-8A9A-E25606DB3409}"/>
              </a:ext>
            </a:extLst>
          </p:cNvPr>
          <p:cNvCxnSpPr/>
          <p:nvPr userDrawn="1"/>
        </p:nvCxnSpPr>
        <p:spPr>
          <a:xfrm>
            <a:off x="12284243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DE0B6714-E24A-4BBD-83FE-BD1EE5BB5881}"/>
              </a:ext>
            </a:extLst>
          </p:cNvPr>
          <p:cNvSpPr txBox="1"/>
          <p:nvPr userDrawn="1"/>
        </p:nvSpPr>
        <p:spPr>
          <a:xfrm>
            <a:off x="12200021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B2D9986-C315-48A1-9CFA-86B66F2AA487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DC78279-F5CA-49E1-A5E4-B576C18206C6}"/>
              </a:ext>
            </a:extLst>
          </p:cNvPr>
          <p:cNvSpPr txBox="1"/>
          <p:nvPr userDrawn="1"/>
        </p:nvSpPr>
        <p:spPr>
          <a:xfrm>
            <a:off x="-1013156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57891402-69C1-44CE-BE13-942CCA962A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40441743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Proxima Nova" panose="020B0503030502060204" pitchFamily="34" charset="0"/>
              </a:defRPr>
            </a:lvl1pPr>
          </a:lstStyle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E82F3DB-F1EC-D143-ABBD-C3E1FB009491}"/>
              </a:ext>
            </a:extLst>
          </p:cNvPr>
          <p:cNvSpPr/>
          <p:nvPr userDrawn="1"/>
        </p:nvSpPr>
        <p:spPr>
          <a:xfrm>
            <a:off x="869950" y="2735755"/>
            <a:ext cx="2280746" cy="22807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>
              <a:solidFill>
                <a:srgbClr val="E31B23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C6FD622-8419-1C41-9D05-C890A383B7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9950" y="2735755"/>
            <a:ext cx="2280746" cy="228074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800" b="1" i="0" baseline="0">
                <a:solidFill>
                  <a:schemeClr val="bg1"/>
                </a:solidFill>
                <a:latin typeface="Arial" panose="020B0604020202020204" pitchFamily="34" charset="0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1B534E8-2FAA-CA46-8E25-EAC21BA251B7}"/>
              </a:ext>
            </a:extLst>
          </p:cNvPr>
          <p:cNvSpPr/>
          <p:nvPr userDrawn="1"/>
        </p:nvSpPr>
        <p:spPr>
          <a:xfrm>
            <a:off x="3665701" y="2735755"/>
            <a:ext cx="2280746" cy="22807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>
              <a:solidFill>
                <a:srgbClr val="E31B23"/>
              </a:solidFill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B72BA326-0552-1340-922B-AF2AD34CC9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65700" y="2735755"/>
            <a:ext cx="2280746" cy="228074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800" b="1" i="0" baseline="0">
                <a:solidFill>
                  <a:schemeClr val="bg1"/>
                </a:solidFill>
                <a:latin typeface="Arial" panose="020B0604020202020204" pitchFamily="34" charset="0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5E2104B-29BB-1C43-9974-58DE6FFE0B0A}"/>
              </a:ext>
            </a:extLst>
          </p:cNvPr>
          <p:cNvSpPr/>
          <p:nvPr userDrawn="1"/>
        </p:nvSpPr>
        <p:spPr>
          <a:xfrm>
            <a:off x="6461452" y="2735755"/>
            <a:ext cx="2280746" cy="22807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>
              <a:solidFill>
                <a:srgbClr val="E31B23"/>
              </a:solidFill>
            </a:endParaRP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7B938469-ADD1-094C-92C8-5350731BDF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61452" y="2735755"/>
            <a:ext cx="2280746" cy="228074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800" b="1" i="0" baseline="0">
                <a:solidFill>
                  <a:schemeClr val="bg1"/>
                </a:solidFill>
                <a:latin typeface="Arial" panose="020B0604020202020204" pitchFamily="34" charset="0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18DF68C-A4D2-AB46-AEE9-54FFA4E5A20C}"/>
              </a:ext>
            </a:extLst>
          </p:cNvPr>
          <p:cNvSpPr/>
          <p:nvPr userDrawn="1"/>
        </p:nvSpPr>
        <p:spPr>
          <a:xfrm>
            <a:off x="9257204" y="2735755"/>
            <a:ext cx="2280746" cy="228074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>
              <a:solidFill>
                <a:srgbClr val="E31B23"/>
              </a:solidFill>
            </a:endParaRP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C3EDE7FB-8187-4245-8DEA-539C668A2A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57204" y="2735755"/>
            <a:ext cx="2280746" cy="2280746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800" b="1" i="0" baseline="0">
                <a:solidFill>
                  <a:schemeClr val="bg1"/>
                </a:solidFill>
                <a:latin typeface="Arial" panose="020B0604020202020204" pitchFamily="34" charset="0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6086BE-EB21-4788-9045-49749C6FA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1E000EB-823E-43D4-8A54-FCC8CF2DC8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9950" y="1333500"/>
            <a:ext cx="10668000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185A463-4171-499F-AB6B-4F56D05E71C0}"/>
              </a:ext>
            </a:extLst>
          </p:cNvPr>
          <p:cNvCxnSpPr/>
          <p:nvPr userDrawn="1"/>
        </p:nvCxnSpPr>
        <p:spPr>
          <a:xfrm>
            <a:off x="12284243" y="1328730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816D0BE-67AA-4194-BE61-3C410FEF29B9}"/>
              </a:ext>
            </a:extLst>
          </p:cNvPr>
          <p:cNvSpPr txBox="1"/>
          <p:nvPr userDrawn="1"/>
        </p:nvSpPr>
        <p:spPr>
          <a:xfrm>
            <a:off x="12200021" y="1348700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9648E04-6F55-4AD6-92BA-04005D8A2DA9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328730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7B666C7-193B-4218-929E-92EA0DEA932D}"/>
              </a:ext>
            </a:extLst>
          </p:cNvPr>
          <p:cNvSpPr txBox="1"/>
          <p:nvPr userDrawn="1"/>
        </p:nvSpPr>
        <p:spPr>
          <a:xfrm>
            <a:off x="-1013156" y="1348700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22" name="Espace réservé du texte 8">
            <a:extLst>
              <a:ext uri="{FF2B5EF4-FFF2-40B4-BE49-F238E27FC236}">
                <a16:creationId xmlns:a16="http://schemas.microsoft.com/office/drawing/2014/main" id="{98DCE1C9-EC32-4A6F-A091-D4BCF3FD95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41371465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Proxima Nova" panose="020B0503030502060204" pitchFamily="34" charset="0"/>
              </a:defRPr>
            </a:lvl1pPr>
          </a:lstStyle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39443D2-3714-394D-8F7A-7637722B99E8}"/>
              </a:ext>
            </a:extLst>
          </p:cNvPr>
          <p:cNvSpPr/>
          <p:nvPr userDrawn="1"/>
        </p:nvSpPr>
        <p:spPr>
          <a:xfrm>
            <a:off x="869950" y="2738162"/>
            <a:ext cx="2324740" cy="232474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noProof="0">
              <a:solidFill>
                <a:srgbClr val="231F2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EFF3E052-E9BD-7741-AB31-16F2ACFE9E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69950" y="2738162"/>
            <a:ext cx="2324740" cy="2324740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b="1" i="0" baseline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79FCAE2-3D68-E545-9FD5-2F795FD5D6AA}"/>
              </a:ext>
            </a:extLst>
          </p:cNvPr>
          <p:cNvSpPr/>
          <p:nvPr userDrawn="1"/>
        </p:nvSpPr>
        <p:spPr>
          <a:xfrm>
            <a:off x="3651037" y="2756793"/>
            <a:ext cx="2324740" cy="232474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noProof="0">
              <a:solidFill>
                <a:srgbClr val="231F2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45AC238-A2F2-5649-888D-6E9F98B610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037" y="2756793"/>
            <a:ext cx="2324740" cy="2324740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b="1" i="0" baseline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1AC8B93-2214-3D48-9C31-A827771D4D3C}"/>
              </a:ext>
            </a:extLst>
          </p:cNvPr>
          <p:cNvSpPr/>
          <p:nvPr userDrawn="1"/>
        </p:nvSpPr>
        <p:spPr>
          <a:xfrm>
            <a:off x="6432124" y="2756793"/>
            <a:ext cx="2324740" cy="232474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noProof="0">
              <a:solidFill>
                <a:srgbClr val="231F2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8CFD7C87-A956-394E-8B51-FE2CDBA38A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32123" y="2756793"/>
            <a:ext cx="2324740" cy="2324740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b="1" i="0" baseline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CA" noProof="0"/>
              <a:t>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2911905-A472-4C9A-A095-1D17D91457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10668000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658F74F-E9EC-4B12-8ED2-E14C92144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3F3CC32-9C94-4362-ADA2-19C6DC941442}"/>
              </a:ext>
            </a:extLst>
          </p:cNvPr>
          <p:cNvSpPr/>
          <p:nvPr userDrawn="1"/>
        </p:nvSpPr>
        <p:spPr>
          <a:xfrm>
            <a:off x="9213210" y="2756793"/>
            <a:ext cx="2324740" cy="232474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00" noProof="0">
              <a:solidFill>
                <a:srgbClr val="231F2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0A596F30-CC55-47B3-9A48-6557B0421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13210" y="2756793"/>
            <a:ext cx="2324740" cy="2324740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600" b="1" i="0" baseline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CA" noProof="0"/>
              <a:t>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47BA76A-9E1A-4EB6-8104-21BB081D0BCC}"/>
              </a:ext>
            </a:extLst>
          </p:cNvPr>
          <p:cNvCxnSpPr/>
          <p:nvPr userDrawn="1"/>
        </p:nvCxnSpPr>
        <p:spPr>
          <a:xfrm>
            <a:off x="12284243" y="1328730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6A9C7EB9-26A3-4F86-BDCF-E1587E6B4BC9}"/>
              </a:ext>
            </a:extLst>
          </p:cNvPr>
          <p:cNvSpPr txBox="1"/>
          <p:nvPr userDrawn="1"/>
        </p:nvSpPr>
        <p:spPr>
          <a:xfrm>
            <a:off x="12200021" y="1348700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D6D4BE9-7BD5-4939-8C46-27E7C77BC5A1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328730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D23F089C-6F79-4A18-931B-A145B88C3A72}"/>
              </a:ext>
            </a:extLst>
          </p:cNvPr>
          <p:cNvSpPr txBox="1"/>
          <p:nvPr userDrawn="1"/>
        </p:nvSpPr>
        <p:spPr>
          <a:xfrm>
            <a:off x="-1013156" y="1348700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D60B8D99-4B6F-4C86-89D3-1AF41F82E8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27038001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B577563-5DDE-4FFA-A148-F92D4F4929C2}"/>
              </a:ext>
            </a:extLst>
          </p:cNvPr>
          <p:cNvSpPr/>
          <p:nvPr userDrawn="1"/>
        </p:nvSpPr>
        <p:spPr>
          <a:xfrm>
            <a:off x="647280" y="943429"/>
            <a:ext cx="1254091" cy="482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838FC49-C50B-854C-B475-7EB321CB0E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9421" y="1186010"/>
            <a:ext cx="4889122" cy="2242987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defRPr sz="4000" b="1" baseline="0">
                <a:latin typeface="+mj-lt"/>
              </a:defRPr>
            </a:lvl1pPr>
          </a:lstStyle>
          <a:p>
            <a:r>
              <a:rPr lang="en-CA" noProof="0"/>
              <a:t>Titl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EC96A42B-0C3A-44D3-82F9-34A2D95E8A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9497" y="4813300"/>
            <a:ext cx="4888592" cy="13557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0" i="0" baseline="0">
                <a:solidFill>
                  <a:srgbClr val="231F20"/>
                </a:solidFill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/>
            </a:lvl2pPr>
          </a:lstStyle>
          <a:p>
            <a:pPr lvl="0"/>
            <a:r>
              <a:rPr lang="en-CA" noProof="0"/>
              <a:t>Text</a:t>
            </a:r>
          </a:p>
          <a:p>
            <a:pPr lvl="1"/>
            <a:endParaRPr lang="en-CA" noProof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A08413B-398F-4A88-AFD2-A4E1E0F804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69951" y="4228490"/>
            <a:ext cx="4888592" cy="482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2000" b="1" i="0" cap="none" baseline="0">
                <a:solidFill>
                  <a:srgbClr val="E03127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2000" cap="none" baseline="0">
                <a:latin typeface="+mn-lt"/>
              </a:defRPr>
            </a:lvl2pPr>
          </a:lstStyle>
          <a:p>
            <a:pPr lvl="0"/>
            <a:r>
              <a:rPr lang="en-CA" noProof="0"/>
              <a:t>Subtitle</a:t>
            </a:r>
          </a:p>
          <a:p>
            <a:pPr lvl="1"/>
            <a:endParaRPr lang="en-CA" noProof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5CD02D5-33C7-4FC2-ADE6-9DB7AF3C0776}"/>
              </a:ext>
            </a:extLst>
          </p:cNvPr>
          <p:cNvCxnSpPr>
            <a:cxnSpLocks/>
          </p:cNvCxnSpPr>
          <p:nvPr userDrawn="1"/>
        </p:nvCxnSpPr>
        <p:spPr>
          <a:xfrm>
            <a:off x="869950" y="3590472"/>
            <a:ext cx="742950" cy="0"/>
          </a:xfrm>
          <a:prstGeom prst="line">
            <a:avLst/>
          </a:prstGeom>
          <a:ln w="5715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C5858E5A-5993-4176-8697-D27AD52A0C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</p:spTree>
    <p:extLst>
      <p:ext uri="{BB962C8B-B14F-4D97-AF65-F5344CB8AC3E}">
        <p14:creationId xmlns:p14="http://schemas.microsoft.com/office/powerpoint/2010/main" val="6547779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puto Prom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>
            <a:extLst>
              <a:ext uri="{FF2B5EF4-FFF2-40B4-BE49-F238E27FC236}">
                <a16:creationId xmlns:a16="http://schemas.microsoft.com/office/drawing/2014/main" id="{95B9BF43-6B45-4F1D-9D86-41C6DBB1C65E}"/>
              </a:ext>
            </a:extLst>
          </p:cNvPr>
          <p:cNvSpPr txBox="1"/>
          <p:nvPr userDrawn="1"/>
        </p:nvSpPr>
        <p:spPr>
          <a:xfrm>
            <a:off x="869949" y="0"/>
            <a:ext cx="10668000" cy="1022349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l"/>
            <a:r>
              <a:rPr lang="en-CA" sz="3200" b="1" i="0" u="none" strike="noStrike" baseline="0" noProof="0">
                <a:solidFill>
                  <a:schemeClr val="tx1"/>
                </a:solidFill>
              </a:rPr>
              <a:t>The Saputo Promi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2332AA-2233-490F-92E0-EA6FA3A215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8D877B3-D348-4611-9BDB-C5374591D951}" type="slidenum">
              <a:rPr lang="en-CA" noProof="0" smtClean="0"/>
              <a:pPr algn="r"/>
              <a:t>‹#›</a:t>
            </a:fld>
            <a:endParaRPr lang="en-CA" noProof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5B744B-CD17-4E04-9C7E-6DAA4C124BF8}"/>
              </a:ext>
            </a:extLst>
          </p:cNvPr>
          <p:cNvSpPr txBox="1"/>
          <p:nvPr userDrawn="1"/>
        </p:nvSpPr>
        <p:spPr>
          <a:xfrm>
            <a:off x="869949" y="1481408"/>
            <a:ext cx="10667999" cy="830997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CA" sz="1600" b="0" i="0" u="none" strike="noStrike" baseline="0" noProof="0">
                <a:solidFill>
                  <a:srgbClr val="221F1F"/>
                </a:solidFill>
              </a:rPr>
              <a:t>As a global leader in dairy processing, we have a responsibility to demonstrate good corporate citizenship in everything we do. The Saputo Promise is our approach to social, environmental, and economic performance, </a:t>
            </a:r>
            <a:br>
              <a:rPr lang="en-CA" sz="1600" b="0" i="0" u="none" strike="noStrike" baseline="0" noProof="0">
                <a:solidFill>
                  <a:srgbClr val="221F1F"/>
                </a:solidFill>
              </a:rPr>
            </a:br>
            <a:r>
              <a:rPr lang="en-CA" sz="1600" b="0" i="0" u="none" strike="noStrike" baseline="0" noProof="0">
                <a:solidFill>
                  <a:srgbClr val="221F1F"/>
                </a:solidFill>
              </a:rPr>
              <a:t>and consists of seven Pillars that allow us to focus our efforts where it matters.</a:t>
            </a:r>
            <a:endParaRPr lang="en-CA" sz="1600" noProof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017C59-333B-4161-BA0F-84A27EA02772}"/>
              </a:ext>
            </a:extLst>
          </p:cNvPr>
          <p:cNvSpPr txBox="1"/>
          <p:nvPr userDrawn="1"/>
        </p:nvSpPr>
        <p:spPr>
          <a:xfrm>
            <a:off x="869950" y="3980320"/>
            <a:ext cx="1408793" cy="1897966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noAutofit/>
          </a:bodyPr>
          <a:lstStyle/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Food Quality </a:t>
            </a:r>
            <a:endParaRPr lang="en-CA" sz="1600" b="0" i="0" u="none" strike="noStrike" baseline="0" noProof="0">
              <a:solidFill>
                <a:srgbClr val="221F1F"/>
              </a:solidFill>
            </a:endParaRPr>
          </a:p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&amp; Safety</a:t>
            </a:r>
          </a:p>
          <a:p>
            <a:r>
              <a:rPr lang="en-CA" sz="1200" noProof="0"/>
              <a:t>Our operating</a:t>
            </a:r>
          </a:p>
          <a:p>
            <a:r>
              <a:rPr lang="en-CA" sz="1200" noProof="0"/>
              <a:t>principle is always</a:t>
            </a:r>
          </a:p>
          <a:p>
            <a:r>
              <a:rPr lang="en-CA" sz="1200" noProof="0"/>
              <a:t>to put food quality</a:t>
            </a:r>
          </a:p>
          <a:p>
            <a:r>
              <a:rPr lang="en-CA" sz="1200" noProof="0"/>
              <a:t>and safety first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F24AE2-7DF8-4521-8E01-A3CD981420E7}"/>
              </a:ext>
            </a:extLst>
          </p:cNvPr>
          <p:cNvSpPr txBox="1"/>
          <p:nvPr userDrawn="1"/>
        </p:nvSpPr>
        <p:spPr>
          <a:xfrm>
            <a:off x="2413151" y="3980320"/>
            <a:ext cx="1408793" cy="1897966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noAutofit/>
          </a:bodyPr>
          <a:lstStyle/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Our</a:t>
            </a:r>
          </a:p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People</a:t>
            </a:r>
            <a:br>
              <a:rPr lang="en-CA" sz="1600" b="1" i="0" u="none" strike="noStrike" baseline="0" noProof="0">
                <a:solidFill>
                  <a:srgbClr val="221F1F"/>
                </a:solidFill>
              </a:rPr>
            </a:br>
            <a:r>
              <a:rPr lang="en-CA" sz="1200" noProof="0"/>
              <a:t>Our employees</a:t>
            </a:r>
          </a:p>
          <a:p>
            <a:r>
              <a:rPr lang="en-CA" sz="1200" noProof="0"/>
              <a:t>are our most</a:t>
            </a:r>
          </a:p>
          <a:p>
            <a:r>
              <a:rPr lang="en-CA" sz="1200" noProof="0"/>
              <a:t>important asset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0B60E4-B6FA-4D26-9CCA-023D4E1EC998}"/>
              </a:ext>
            </a:extLst>
          </p:cNvPr>
          <p:cNvSpPr txBox="1"/>
          <p:nvPr userDrawn="1"/>
        </p:nvSpPr>
        <p:spPr>
          <a:xfrm>
            <a:off x="3956352" y="3980320"/>
            <a:ext cx="1408793" cy="1897966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noAutofit/>
          </a:bodyPr>
          <a:lstStyle/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Business</a:t>
            </a:r>
          </a:p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Ethics</a:t>
            </a:r>
            <a:br>
              <a:rPr lang="en-CA" sz="1600" b="1" i="0" u="none" strike="noStrike" baseline="0" noProof="0">
                <a:solidFill>
                  <a:srgbClr val="221F1F"/>
                </a:solidFill>
              </a:rPr>
            </a:br>
            <a:r>
              <a:rPr lang="en-CA" sz="1200" noProof="0"/>
              <a:t>Integrity guides</a:t>
            </a:r>
          </a:p>
          <a:p>
            <a:r>
              <a:rPr lang="en-CA" sz="1200" noProof="0"/>
              <a:t>the everyday</a:t>
            </a:r>
          </a:p>
          <a:p>
            <a:r>
              <a:rPr lang="en-CA" sz="1200" noProof="0"/>
              <a:t>conduct of our</a:t>
            </a:r>
          </a:p>
          <a:p>
            <a:r>
              <a:rPr lang="en-CA" sz="1200" noProof="0"/>
              <a:t>employees,</a:t>
            </a:r>
          </a:p>
          <a:p>
            <a:r>
              <a:rPr lang="en-CA" sz="1200" noProof="0"/>
              <a:t>officers, and Board</a:t>
            </a:r>
          </a:p>
          <a:p>
            <a:r>
              <a:rPr lang="en-CA" sz="1200" noProof="0"/>
              <a:t>member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4DA4E3-5893-4CF0-A36A-96AD20420018}"/>
              </a:ext>
            </a:extLst>
          </p:cNvPr>
          <p:cNvSpPr txBox="1"/>
          <p:nvPr userDrawn="1"/>
        </p:nvSpPr>
        <p:spPr>
          <a:xfrm>
            <a:off x="5499553" y="3980320"/>
            <a:ext cx="1408793" cy="1897966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noAutofit/>
          </a:bodyPr>
          <a:lstStyle/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Responsible</a:t>
            </a:r>
          </a:p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Sourcing</a:t>
            </a:r>
          </a:p>
          <a:p>
            <a:r>
              <a:rPr lang="en-CA" sz="1200" noProof="0"/>
              <a:t>We care deeply</a:t>
            </a:r>
          </a:p>
          <a:p>
            <a:r>
              <a:rPr lang="en-CA" sz="1200" noProof="0"/>
              <a:t>about where our</a:t>
            </a:r>
          </a:p>
          <a:p>
            <a:r>
              <a:rPr lang="en-CA" sz="1200" noProof="0"/>
              <a:t>ingredients come</a:t>
            </a:r>
          </a:p>
          <a:p>
            <a:r>
              <a:rPr lang="en-CA" sz="1200" noProof="0"/>
              <a:t>from and expect</a:t>
            </a:r>
          </a:p>
          <a:p>
            <a:r>
              <a:rPr lang="en-CA" sz="1200" noProof="0"/>
              <a:t>the same from our</a:t>
            </a:r>
          </a:p>
          <a:p>
            <a:r>
              <a:rPr lang="en-CA" sz="1200" noProof="0"/>
              <a:t>supplier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0902D5D-E59A-41B8-AFB2-FBEFD81FB92B}"/>
              </a:ext>
            </a:extLst>
          </p:cNvPr>
          <p:cNvSpPr txBox="1"/>
          <p:nvPr userDrawn="1"/>
        </p:nvSpPr>
        <p:spPr>
          <a:xfrm>
            <a:off x="7042754" y="3980320"/>
            <a:ext cx="1408793" cy="1897966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noAutofit/>
          </a:bodyPr>
          <a:lstStyle/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Environment</a:t>
            </a:r>
          </a:p>
          <a:p>
            <a:r>
              <a:rPr lang="en-CA" sz="1200" noProof="0"/>
              <a:t>Our goal is to</a:t>
            </a:r>
          </a:p>
          <a:p>
            <a:r>
              <a:rPr lang="en-CA" sz="1200" noProof="0"/>
              <a:t>safeguard the</a:t>
            </a:r>
          </a:p>
          <a:p>
            <a:r>
              <a:rPr lang="en-CA" sz="1200" noProof="0"/>
              <a:t>environment while</a:t>
            </a:r>
          </a:p>
          <a:p>
            <a:r>
              <a:rPr lang="en-CA" sz="1200" noProof="0"/>
              <a:t>continuing to grow</a:t>
            </a:r>
          </a:p>
          <a:p>
            <a:r>
              <a:rPr lang="en-CA" sz="1200" noProof="0"/>
              <a:t>as a world class</a:t>
            </a:r>
          </a:p>
          <a:p>
            <a:r>
              <a:rPr lang="en-CA" sz="1200" noProof="0"/>
              <a:t>dairy processor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2064BE-ACE4-4D87-9634-C39BFE0F8F05}"/>
              </a:ext>
            </a:extLst>
          </p:cNvPr>
          <p:cNvSpPr txBox="1"/>
          <p:nvPr userDrawn="1"/>
        </p:nvSpPr>
        <p:spPr>
          <a:xfrm>
            <a:off x="8585955" y="3980320"/>
            <a:ext cx="1408793" cy="1897966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noAutofit/>
          </a:bodyPr>
          <a:lstStyle/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Nutrition &amp;</a:t>
            </a:r>
          </a:p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Healthy Living</a:t>
            </a:r>
          </a:p>
          <a:p>
            <a:r>
              <a:rPr lang="en-CA" sz="1200" noProof="0"/>
              <a:t>Providing</a:t>
            </a:r>
          </a:p>
          <a:p>
            <a:r>
              <a:rPr lang="en-CA" sz="1200" noProof="0"/>
              <a:t>nutritious products</a:t>
            </a:r>
          </a:p>
          <a:p>
            <a:r>
              <a:rPr lang="en-CA" sz="1200" noProof="0"/>
              <a:t>is part of our daily</a:t>
            </a:r>
          </a:p>
          <a:p>
            <a:r>
              <a:rPr lang="en-CA" sz="1200" noProof="0"/>
              <a:t>operations and</a:t>
            </a:r>
          </a:p>
          <a:p>
            <a:r>
              <a:rPr lang="en-CA" sz="1200" noProof="0"/>
              <a:t>healthy living is at</a:t>
            </a:r>
          </a:p>
          <a:p>
            <a:r>
              <a:rPr lang="en-CA" sz="1200" noProof="0"/>
              <a:t>the heart of our</a:t>
            </a:r>
          </a:p>
          <a:p>
            <a:r>
              <a:rPr lang="en-CA" sz="1200" noProof="0"/>
              <a:t>value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55E1320-868E-43DE-9105-F61591A5C5D0}"/>
              </a:ext>
            </a:extLst>
          </p:cNvPr>
          <p:cNvSpPr txBox="1"/>
          <p:nvPr userDrawn="1"/>
        </p:nvSpPr>
        <p:spPr>
          <a:xfrm>
            <a:off x="10129155" y="3980320"/>
            <a:ext cx="1408793" cy="1897966"/>
          </a:xfrm>
          <a:prstGeom prst="rect">
            <a:avLst/>
          </a:prstGeom>
          <a:noFill/>
          <a:ln>
            <a:noFill/>
          </a:ln>
        </p:spPr>
        <p:txBody>
          <a:bodyPr wrap="square" lIns="0">
            <a:noAutofit/>
          </a:bodyPr>
          <a:lstStyle/>
          <a:p>
            <a:r>
              <a:rPr lang="en-CA" sz="1600" b="1" i="0" u="none" strike="noStrike" baseline="0" noProof="0">
                <a:solidFill>
                  <a:srgbClr val="221F1F"/>
                </a:solidFill>
              </a:rPr>
              <a:t>Community</a:t>
            </a:r>
          </a:p>
          <a:p>
            <a:r>
              <a:rPr lang="en-CA" sz="1200" noProof="0"/>
              <a:t>We are committed</a:t>
            </a:r>
          </a:p>
          <a:p>
            <a:r>
              <a:rPr lang="en-CA" sz="1200" noProof="0"/>
              <a:t>to giving back to</a:t>
            </a:r>
          </a:p>
          <a:p>
            <a:r>
              <a:rPr lang="en-CA" sz="1200" noProof="0"/>
              <a:t>the communities</a:t>
            </a:r>
          </a:p>
          <a:p>
            <a:r>
              <a:rPr lang="en-CA" sz="1200" noProof="0"/>
              <a:t>that support us</a:t>
            </a:r>
          </a:p>
          <a:p>
            <a:r>
              <a:rPr lang="en-CA" sz="1200" noProof="0"/>
              <a:t>and help us</a:t>
            </a:r>
          </a:p>
          <a:p>
            <a:r>
              <a:rPr lang="en-CA" sz="1200" noProof="0"/>
              <a:t>flourish.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6BA1217-C296-4773-B4A3-85A636C8DF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9951" y="2476470"/>
            <a:ext cx="1408792" cy="1408792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326C573E-E134-4EDC-85A9-768D5322B49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413151" y="2476470"/>
            <a:ext cx="1408792" cy="1408792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6BC8B910-F4FB-4009-9C56-6D26E29237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56353" y="2510290"/>
            <a:ext cx="1408792" cy="1408792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A698FEC-6323-48E6-9458-5C30B1418EC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57298" y="2510290"/>
            <a:ext cx="1408792" cy="1408792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0D05CF59-9068-41B0-BF2E-E7B117FDC90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42755" y="2510290"/>
            <a:ext cx="1408792" cy="1408792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98F2E8D0-2FEF-41B9-B014-3218542CE98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585955" y="2510290"/>
            <a:ext cx="1408792" cy="1408792"/>
          </a:xfrm>
          <a:prstGeom prst="rect">
            <a:avLst/>
          </a:prstGeom>
        </p:spPr>
      </p:pic>
      <p:grpSp>
        <p:nvGrpSpPr>
          <p:cNvPr id="2" name="Graphic 18">
            <a:extLst>
              <a:ext uri="{FF2B5EF4-FFF2-40B4-BE49-F238E27FC236}">
                <a16:creationId xmlns:a16="http://schemas.microsoft.com/office/drawing/2014/main" id="{9F3BBFCC-66B7-4264-B4FA-9B2775DDEAEB}"/>
              </a:ext>
            </a:extLst>
          </p:cNvPr>
          <p:cNvGrpSpPr/>
          <p:nvPr/>
        </p:nvGrpSpPr>
        <p:grpSpPr>
          <a:xfrm>
            <a:off x="10145121" y="2526253"/>
            <a:ext cx="1378061" cy="1378061"/>
            <a:chOff x="10145121" y="2526253"/>
            <a:chExt cx="1378061" cy="1378061"/>
          </a:xfrm>
        </p:grpSpPr>
        <p:sp>
          <p:nvSpPr>
            <p:cNvPr id="4" name="Forme libre : forme 3">
              <a:extLst>
                <a:ext uri="{FF2B5EF4-FFF2-40B4-BE49-F238E27FC236}">
                  <a16:creationId xmlns:a16="http://schemas.microsoft.com/office/drawing/2014/main" id="{9E9B1DC0-F0B5-4B48-83A3-86B726B8A7CC}"/>
                </a:ext>
              </a:extLst>
            </p:cNvPr>
            <p:cNvSpPr/>
            <p:nvPr/>
          </p:nvSpPr>
          <p:spPr>
            <a:xfrm>
              <a:off x="10145121" y="2526253"/>
              <a:ext cx="1378061" cy="1378061"/>
            </a:xfrm>
            <a:custGeom>
              <a:avLst/>
              <a:gdLst>
                <a:gd name="connsiteX0" fmla="*/ 689031 w 1378061"/>
                <a:gd name="connsiteY0" fmla="*/ 1378062 h 1378061"/>
                <a:gd name="connsiteX1" fmla="*/ 1378062 w 1378061"/>
                <a:gd name="connsiteY1" fmla="*/ 689031 h 1378061"/>
                <a:gd name="connsiteX2" fmla="*/ 689031 w 1378061"/>
                <a:gd name="connsiteY2" fmla="*/ 0 h 1378061"/>
                <a:gd name="connsiteX3" fmla="*/ 0 w 1378061"/>
                <a:gd name="connsiteY3" fmla="*/ 689031 h 1378061"/>
                <a:gd name="connsiteX4" fmla="*/ 689031 w 1378061"/>
                <a:gd name="connsiteY4" fmla="*/ 1378062 h 137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8061" h="1378061">
                  <a:moveTo>
                    <a:pt x="689031" y="1378062"/>
                  </a:moveTo>
                  <a:cubicBezTo>
                    <a:pt x="1069565" y="1378062"/>
                    <a:pt x="1378062" y="1069565"/>
                    <a:pt x="1378062" y="689031"/>
                  </a:cubicBezTo>
                  <a:cubicBezTo>
                    <a:pt x="1378062" y="308498"/>
                    <a:pt x="1069565" y="0"/>
                    <a:pt x="689031" y="0"/>
                  </a:cubicBezTo>
                  <a:cubicBezTo>
                    <a:pt x="308498" y="0"/>
                    <a:pt x="0" y="308498"/>
                    <a:pt x="0" y="689031"/>
                  </a:cubicBezTo>
                  <a:cubicBezTo>
                    <a:pt x="0" y="1069565"/>
                    <a:pt x="308498" y="1378062"/>
                    <a:pt x="689031" y="1378062"/>
                  </a:cubicBezTo>
                </a:path>
              </a:pathLst>
            </a:custGeom>
            <a:solidFill>
              <a:srgbClr val="E31B23"/>
            </a:solidFill>
            <a:ln w="3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noProof="0"/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527B992C-7555-4020-8154-600035C55ED1}"/>
                </a:ext>
              </a:extLst>
            </p:cNvPr>
            <p:cNvSpPr/>
            <p:nvPr/>
          </p:nvSpPr>
          <p:spPr>
            <a:xfrm>
              <a:off x="10145121" y="2526253"/>
              <a:ext cx="1378061" cy="1378061"/>
            </a:xfrm>
            <a:custGeom>
              <a:avLst/>
              <a:gdLst>
                <a:gd name="connsiteX0" fmla="*/ 689031 w 1378061"/>
                <a:gd name="connsiteY0" fmla="*/ 1378062 h 1378061"/>
                <a:gd name="connsiteX1" fmla="*/ 1378062 w 1378061"/>
                <a:gd name="connsiteY1" fmla="*/ 689031 h 1378061"/>
                <a:gd name="connsiteX2" fmla="*/ 689031 w 1378061"/>
                <a:gd name="connsiteY2" fmla="*/ 0 h 1378061"/>
                <a:gd name="connsiteX3" fmla="*/ 0 w 1378061"/>
                <a:gd name="connsiteY3" fmla="*/ 689031 h 1378061"/>
                <a:gd name="connsiteX4" fmla="*/ 689031 w 1378061"/>
                <a:gd name="connsiteY4" fmla="*/ 1378062 h 1378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8061" h="1378061">
                  <a:moveTo>
                    <a:pt x="689031" y="1378062"/>
                  </a:moveTo>
                  <a:cubicBezTo>
                    <a:pt x="1069565" y="1378062"/>
                    <a:pt x="1378062" y="1069565"/>
                    <a:pt x="1378062" y="689031"/>
                  </a:cubicBezTo>
                  <a:cubicBezTo>
                    <a:pt x="1378062" y="308498"/>
                    <a:pt x="1069565" y="0"/>
                    <a:pt x="689031" y="0"/>
                  </a:cubicBezTo>
                  <a:cubicBezTo>
                    <a:pt x="308498" y="0"/>
                    <a:pt x="0" y="308498"/>
                    <a:pt x="0" y="689031"/>
                  </a:cubicBezTo>
                  <a:cubicBezTo>
                    <a:pt x="0" y="1069565"/>
                    <a:pt x="308498" y="1378062"/>
                    <a:pt x="689031" y="1378062"/>
                  </a:cubicBezTo>
                  <a:close/>
                </a:path>
              </a:pathLst>
            </a:custGeom>
            <a:noFill/>
            <a:ln w="31732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 noProof="0"/>
            </a:p>
          </p:txBody>
        </p:sp>
        <p:sp>
          <p:nvSpPr>
            <p:cNvPr id="21" name="Forme libre : forme 20">
              <a:extLst>
                <a:ext uri="{FF2B5EF4-FFF2-40B4-BE49-F238E27FC236}">
                  <a16:creationId xmlns:a16="http://schemas.microsoft.com/office/drawing/2014/main" id="{4FA37C20-B810-42D8-9CA7-0C14EFDE70A1}"/>
                </a:ext>
              </a:extLst>
            </p:cNvPr>
            <p:cNvSpPr/>
            <p:nvPr/>
          </p:nvSpPr>
          <p:spPr>
            <a:xfrm>
              <a:off x="10757447" y="2881245"/>
              <a:ext cx="143912" cy="143912"/>
            </a:xfrm>
            <a:custGeom>
              <a:avLst/>
              <a:gdLst>
                <a:gd name="connsiteX0" fmla="*/ 143912 w 143912"/>
                <a:gd name="connsiteY0" fmla="*/ 71956 h 143912"/>
                <a:gd name="connsiteX1" fmla="*/ 71956 w 143912"/>
                <a:gd name="connsiteY1" fmla="*/ 143912 h 143912"/>
                <a:gd name="connsiteX2" fmla="*/ 0 w 143912"/>
                <a:gd name="connsiteY2" fmla="*/ 71956 h 143912"/>
                <a:gd name="connsiteX3" fmla="*/ 71956 w 143912"/>
                <a:gd name="connsiteY3" fmla="*/ 0 h 143912"/>
                <a:gd name="connsiteX4" fmla="*/ 143912 w 143912"/>
                <a:gd name="connsiteY4" fmla="*/ 71956 h 14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912" h="143912">
                  <a:moveTo>
                    <a:pt x="143912" y="71956"/>
                  </a:moveTo>
                  <a:cubicBezTo>
                    <a:pt x="143912" y="111706"/>
                    <a:pt x="111706" y="143912"/>
                    <a:pt x="71956" y="143912"/>
                  </a:cubicBezTo>
                  <a:cubicBezTo>
                    <a:pt x="32207" y="143912"/>
                    <a:pt x="0" y="111666"/>
                    <a:pt x="0" y="71956"/>
                  </a:cubicBezTo>
                  <a:cubicBezTo>
                    <a:pt x="0" y="32207"/>
                    <a:pt x="32207" y="0"/>
                    <a:pt x="71956" y="0"/>
                  </a:cubicBezTo>
                  <a:cubicBezTo>
                    <a:pt x="111706" y="0"/>
                    <a:pt x="143912" y="32207"/>
                    <a:pt x="143912" y="71956"/>
                  </a:cubicBezTo>
                </a:path>
              </a:pathLst>
            </a:custGeom>
            <a:solidFill>
              <a:srgbClr val="FFFFFF"/>
            </a:solidFill>
            <a:ln w="3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noProof="0"/>
            </a:p>
          </p:txBody>
        </p:sp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C75DEB60-C4FF-4880-B2C1-97A77C625333}"/>
                </a:ext>
              </a:extLst>
            </p:cNvPr>
            <p:cNvSpPr/>
            <p:nvPr/>
          </p:nvSpPr>
          <p:spPr>
            <a:xfrm>
              <a:off x="10560655" y="2806615"/>
              <a:ext cx="143912" cy="143912"/>
            </a:xfrm>
            <a:custGeom>
              <a:avLst/>
              <a:gdLst>
                <a:gd name="connsiteX0" fmla="*/ 143912 w 143912"/>
                <a:gd name="connsiteY0" fmla="*/ 71956 h 143912"/>
                <a:gd name="connsiteX1" fmla="*/ 71956 w 143912"/>
                <a:gd name="connsiteY1" fmla="*/ 143912 h 143912"/>
                <a:gd name="connsiteX2" fmla="*/ 0 w 143912"/>
                <a:gd name="connsiteY2" fmla="*/ 71956 h 143912"/>
                <a:gd name="connsiteX3" fmla="*/ 71956 w 143912"/>
                <a:gd name="connsiteY3" fmla="*/ 0 h 143912"/>
                <a:gd name="connsiteX4" fmla="*/ 143912 w 143912"/>
                <a:gd name="connsiteY4" fmla="*/ 71956 h 14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3912" h="143912">
                  <a:moveTo>
                    <a:pt x="143912" y="71956"/>
                  </a:moveTo>
                  <a:cubicBezTo>
                    <a:pt x="143912" y="111706"/>
                    <a:pt x="111706" y="143912"/>
                    <a:pt x="71956" y="143912"/>
                  </a:cubicBezTo>
                  <a:cubicBezTo>
                    <a:pt x="32207" y="143912"/>
                    <a:pt x="0" y="111666"/>
                    <a:pt x="0" y="71956"/>
                  </a:cubicBezTo>
                  <a:cubicBezTo>
                    <a:pt x="0" y="32207"/>
                    <a:pt x="32207" y="0"/>
                    <a:pt x="71956" y="0"/>
                  </a:cubicBezTo>
                  <a:cubicBezTo>
                    <a:pt x="111706" y="0"/>
                    <a:pt x="143912" y="32247"/>
                    <a:pt x="143912" y="71956"/>
                  </a:cubicBezTo>
                </a:path>
              </a:pathLst>
            </a:custGeom>
            <a:solidFill>
              <a:srgbClr val="FFFFFF"/>
            </a:solidFill>
            <a:ln w="3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noProof="0"/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CAC1743D-4125-4177-B62A-C6C81B91AFD1}"/>
                </a:ext>
              </a:extLst>
            </p:cNvPr>
            <p:cNvSpPr/>
            <p:nvPr/>
          </p:nvSpPr>
          <p:spPr>
            <a:xfrm>
              <a:off x="10436657" y="2974442"/>
              <a:ext cx="393621" cy="640970"/>
            </a:xfrm>
            <a:custGeom>
              <a:avLst/>
              <a:gdLst>
                <a:gd name="connsiteX0" fmla="*/ 78701 w 393621"/>
                <a:gd name="connsiteY0" fmla="*/ 28405 h 640970"/>
                <a:gd name="connsiteX1" fmla="*/ 1956 w 393621"/>
                <a:gd name="connsiteY1" fmla="*/ 204325 h 640970"/>
                <a:gd name="connsiteX2" fmla="*/ 21791 w 393621"/>
                <a:gd name="connsiteY2" fmla="*/ 238727 h 640970"/>
                <a:gd name="connsiteX3" fmla="*/ 50685 w 393621"/>
                <a:gd name="connsiteY3" fmla="*/ 223681 h 640970"/>
                <a:gd name="connsiteX4" fmla="*/ 105041 w 393621"/>
                <a:gd name="connsiteY4" fmla="*/ 107426 h 640970"/>
                <a:gd name="connsiteX5" fmla="*/ 116695 w 393621"/>
                <a:gd name="connsiteY5" fmla="*/ 109501 h 640970"/>
                <a:gd name="connsiteX6" fmla="*/ 116695 w 393621"/>
                <a:gd name="connsiteY6" fmla="*/ 134763 h 640970"/>
                <a:gd name="connsiteX7" fmla="*/ 116695 w 393621"/>
                <a:gd name="connsiteY7" fmla="*/ 198937 h 640970"/>
                <a:gd name="connsiteX8" fmla="*/ 116695 w 393621"/>
                <a:gd name="connsiteY8" fmla="*/ 343927 h 640970"/>
                <a:gd name="connsiteX9" fmla="*/ 116695 w 393621"/>
                <a:gd name="connsiteY9" fmla="*/ 433962 h 640970"/>
                <a:gd name="connsiteX10" fmla="*/ 116695 w 393621"/>
                <a:gd name="connsiteY10" fmla="*/ 554248 h 640970"/>
                <a:gd name="connsiteX11" fmla="*/ 116695 w 393621"/>
                <a:gd name="connsiteY11" fmla="*/ 596033 h 640970"/>
                <a:gd name="connsiteX12" fmla="*/ 133377 w 393621"/>
                <a:gd name="connsiteY12" fmla="*/ 634825 h 640970"/>
                <a:gd name="connsiteX13" fmla="*/ 165184 w 393621"/>
                <a:gd name="connsiteY13" fmla="*/ 633069 h 640970"/>
                <a:gd name="connsiteX14" fmla="*/ 179871 w 393621"/>
                <a:gd name="connsiteY14" fmla="*/ 598268 h 640970"/>
                <a:gd name="connsiteX15" fmla="*/ 191285 w 393621"/>
                <a:gd name="connsiteY15" fmla="*/ 400199 h 640970"/>
                <a:gd name="connsiteX16" fmla="*/ 195116 w 393621"/>
                <a:gd name="connsiteY16" fmla="*/ 364001 h 640970"/>
                <a:gd name="connsiteX17" fmla="*/ 198069 w 393621"/>
                <a:gd name="connsiteY17" fmla="*/ 348237 h 640970"/>
                <a:gd name="connsiteX18" fmla="*/ 202020 w 393621"/>
                <a:gd name="connsiteY18" fmla="*/ 360968 h 640970"/>
                <a:gd name="connsiteX19" fmla="*/ 212197 w 393621"/>
                <a:gd name="connsiteY19" fmla="*/ 610719 h 640970"/>
                <a:gd name="connsiteX20" fmla="*/ 243605 w 393621"/>
                <a:gd name="connsiteY20" fmla="*/ 640971 h 640970"/>
                <a:gd name="connsiteX21" fmla="*/ 270983 w 393621"/>
                <a:gd name="connsiteY21" fmla="*/ 611318 h 640970"/>
                <a:gd name="connsiteX22" fmla="*/ 272260 w 393621"/>
                <a:gd name="connsiteY22" fmla="*/ 107066 h 640970"/>
                <a:gd name="connsiteX23" fmla="*/ 286149 w 393621"/>
                <a:gd name="connsiteY23" fmla="*/ 103355 h 640970"/>
                <a:gd name="connsiteX24" fmla="*/ 342141 w 393621"/>
                <a:gd name="connsiteY24" fmla="*/ 229747 h 640970"/>
                <a:gd name="connsiteX25" fmla="*/ 377980 w 393621"/>
                <a:gd name="connsiteY25" fmla="*/ 245711 h 640970"/>
                <a:gd name="connsiteX26" fmla="*/ 389713 w 393621"/>
                <a:gd name="connsiteY26" fmla="*/ 199975 h 640970"/>
                <a:gd name="connsiteX27" fmla="*/ 298880 w 393621"/>
                <a:gd name="connsiteY27" fmla="*/ 14158 h 640970"/>
                <a:gd name="connsiteX28" fmla="*/ 267830 w 393621"/>
                <a:gd name="connsiteY28" fmla="*/ 30 h 640970"/>
                <a:gd name="connsiteX29" fmla="*/ 110908 w 393621"/>
                <a:gd name="connsiteY29" fmla="*/ 270 h 640970"/>
                <a:gd name="connsiteX30" fmla="*/ 78701 w 393621"/>
                <a:gd name="connsiteY30" fmla="*/ 28405 h 640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93621" h="640970">
                  <a:moveTo>
                    <a:pt x="78701" y="28405"/>
                  </a:moveTo>
                  <a:lnTo>
                    <a:pt x="1956" y="204325"/>
                  </a:lnTo>
                  <a:cubicBezTo>
                    <a:pt x="-4430" y="219211"/>
                    <a:pt x="5508" y="237050"/>
                    <a:pt x="21791" y="238727"/>
                  </a:cubicBezTo>
                  <a:cubicBezTo>
                    <a:pt x="33005" y="239884"/>
                    <a:pt x="45656" y="234017"/>
                    <a:pt x="50685" y="223681"/>
                  </a:cubicBezTo>
                  <a:cubicBezTo>
                    <a:pt x="62099" y="200134"/>
                    <a:pt x="91312" y="139512"/>
                    <a:pt x="105041" y="107426"/>
                  </a:cubicBezTo>
                  <a:cubicBezTo>
                    <a:pt x="107675" y="101240"/>
                    <a:pt x="116695" y="102796"/>
                    <a:pt x="116695" y="109501"/>
                  </a:cubicBezTo>
                  <a:lnTo>
                    <a:pt x="116695" y="134763"/>
                  </a:lnTo>
                  <a:lnTo>
                    <a:pt x="116695" y="198937"/>
                  </a:lnTo>
                  <a:lnTo>
                    <a:pt x="116695" y="343927"/>
                  </a:lnTo>
                  <a:lnTo>
                    <a:pt x="116695" y="433962"/>
                  </a:lnTo>
                  <a:lnTo>
                    <a:pt x="116695" y="554248"/>
                  </a:lnTo>
                  <a:cubicBezTo>
                    <a:pt x="116695" y="568176"/>
                    <a:pt x="116734" y="582105"/>
                    <a:pt x="116695" y="596033"/>
                  </a:cubicBezTo>
                  <a:cubicBezTo>
                    <a:pt x="116655" y="610081"/>
                    <a:pt x="120446" y="627042"/>
                    <a:pt x="133377" y="634825"/>
                  </a:cubicBezTo>
                  <a:cubicBezTo>
                    <a:pt x="143194" y="640731"/>
                    <a:pt x="155885" y="639294"/>
                    <a:pt x="165184" y="633069"/>
                  </a:cubicBezTo>
                  <a:cubicBezTo>
                    <a:pt x="176997" y="625167"/>
                    <a:pt x="179272" y="611597"/>
                    <a:pt x="179871" y="598268"/>
                  </a:cubicBezTo>
                  <a:cubicBezTo>
                    <a:pt x="182026" y="546546"/>
                    <a:pt x="186376" y="451761"/>
                    <a:pt x="191285" y="400199"/>
                  </a:cubicBezTo>
                  <a:cubicBezTo>
                    <a:pt x="192442" y="388106"/>
                    <a:pt x="193599" y="376014"/>
                    <a:pt x="195116" y="364001"/>
                  </a:cubicBezTo>
                  <a:cubicBezTo>
                    <a:pt x="195675" y="359412"/>
                    <a:pt x="195515" y="352428"/>
                    <a:pt x="198069" y="348237"/>
                  </a:cubicBezTo>
                  <a:cubicBezTo>
                    <a:pt x="202459" y="347838"/>
                    <a:pt x="201701" y="356578"/>
                    <a:pt x="202020" y="360968"/>
                  </a:cubicBezTo>
                  <a:cubicBezTo>
                    <a:pt x="204495" y="395130"/>
                    <a:pt x="210960" y="564824"/>
                    <a:pt x="212197" y="610719"/>
                  </a:cubicBezTo>
                  <a:cubicBezTo>
                    <a:pt x="212596" y="625885"/>
                    <a:pt x="225686" y="640971"/>
                    <a:pt x="243605" y="640971"/>
                  </a:cubicBezTo>
                  <a:cubicBezTo>
                    <a:pt x="250630" y="640971"/>
                    <a:pt x="270983" y="633707"/>
                    <a:pt x="270983" y="611318"/>
                  </a:cubicBezTo>
                  <a:cubicBezTo>
                    <a:pt x="270983" y="579830"/>
                    <a:pt x="276491" y="195824"/>
                    <a:pt x="272260" y="107066"/>
                  </a:cubicBezTo>
                  <a:cubicBezTo>
                    <a:pt x="271901" y="99164"/>
                    <a:pt x="282517" y="96331"/>
                    <a:pt x="286149" y="103355"/>
                  </a:cubicBezTo>
                  <a:cubicBezTo>
                    <a:pt x="286149" y="103355"/>
                    <a:pt x="342021" y="229468"/>
                    <a:pt x="342141" y="229747"/>
                  </a:cubicBezTo>
                  <a:cubicBezTo>
                    <a:pt x="347489" y="241800"/>
                    <a:pt x="365249" y="251298"/>
                    <a:pt x="377980" y="245711"/>
                  </a:cubicBezTo>
                  <a:cubicBezTo>
                    <a:pt x="394542" y="238447"/>
                    <a:pt x="397056" y="214342"/>
                    <a:pt x="389713" y="199975"/>
                  </a:cubicBezTo>
                  <a:cubicBezTo>
                    <a:pt x="368042" y="157671"/>
                    <a:pt x="321947" y="42453"/>
                    <a:pt x="298880" y="14158"/>
                  </a:cubicBezTo>
                  <a:cubicBezTo>
                    <a:pt x="291297" y="4819"/>
                    <a:pt x="279843" y="-449"/>
                    <a:pt x="267830" y="30"/>
                  </a:cubicBezTo>
                  <a:lnTo>
                    <a:pt x="110908" y="270"/>
                  </a:lnTo>
                  <a:cubicBezTo>
                    <a:pt x="96700" y="828"/>
                    <a:pt x="84328" y="15315"/>
                    <a:pt x="78701" y="28405"/>
                  </a:cubicBezTo>
                </a:path>
              </a:pathLst>
            </a:custGeom>
            <a:solidFill>
              <a:srgbClr val="FFFFFF"/>
            </a:solidFill>
            <a:ln w="3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noProof="0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3E599F03-BAE7-4D87-89E9-DF9F6538873F}"/>
                </a:ext>
              </a:extLst>
            </p:cNvPr>
            <p:cNvSpPr/>
            <p:nvPr/>
          </p:nvSpPr>
          <p:spPr>
            <a:xfrm>
              <a:off x="11086976" y="3232485"/>
              <a:ext cx="77104" cy="77104"/>
            </a:xfrm>
            <a:custGeom>
              <a:avLst/>
              <a:gdLst>
                <a:gd name="connsiteX0" fmla="*/ 77104 w 77104"/>
                <a:gd name="connsiteY0" fmla="*/ 38552 h 77104"/>
                <a:gd name="connsiteX1" fmla="*/ 38552 w 77104"/>
                <a:gd name="connsiteY1" fmla="*/ 77104 h 77104"/>
                <a:gd name="connsiteX2" fmla="*/ 0 w 77104"/>
                <a:gd name="connsiteY2" fmla="*/ 38552 h 77104"/>
                <a:gd name="connsiteX3" fmla="*/ 38552 w 77104"/>
                <a:gd name="connsiteY3" fmla="*/ 0 h 77104"/>
                <a:gd name="connsiteX4" fmla="*/ 77104 w 77104"/>
                <a:gd name="connsiteY4" fmla="*/ 38552 h 77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04" h="77104">
                  <a:moveTo>
                    <a:pt x="77104" y="38552"/>
                  </a:moveTo>
                  <a:cubicBezTo>
                    <a:pt x="77104" y="59864"/>
                    <a:pt x="59864" y="77104"/>
                    <a:pt x="38552" y="77104"/>
                  </a:cubicBezTo>
                  <a:cubicBezTo>
                    <a:pt x="17281" y="77104"/>
                    <a:pt x="0" y="59864"/>
                    <a:pt x="0" y="38552"/>
                  </a:cubicBezTo>
                  <a:cubicBezTo>
                    <a:pt x="0" y="17241"/>
                    <a:pt x="17241" y="0"/>
                    <a:pt x="38552" y="0"/>
                  </a:cubicBezTo>
                  <a:cubicBezTo>
                    <a:pt x="59864" y="0"/>
                    <a:pt x="77104" y="17281"/>
                    <a:pt x="77104" y="38552"/>
                  </a:cubicBezTo>
                </a:path>
              </a:pathLst>
            </a:custGeom>
            <a:solidFill>
              <a:srgbClr val="FFFFFF"/>
            </a:solidFill>
            <a:ln w="3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noProof="0"/>
            </a:p>
          </p:txBody>
        </p:sp>
        <p:sp>
          <p:nvSpPr>
            <p:cNvPr id="25" name="Forme libre : forme 24">
              <a:extLst>
                <a:ext uri="{FF2B5EF4-FFF2-40B4-BE49-F238E27FC236}">
                  <a16:creationId xmlns:a16="http://schemas.microsoft.com/office/drawing/2014/main" id="{D102BB75-C387-4B28-9A5E-1469CBD9B86D}"/>
                </a:ext>
              </a:extLst>
            </p:cNvPr>
            <p:cNvSpPr/>
            <p:nvPr/>
          </p:nvSpPr>
          <p:spPr>
            <a:xfrm>
              <a:off x="10990389" y="3233642"/>
              <a:ext cx="241201" cy="376798"/>
            </a:xfrm>
            <a:custGeom>
              <a:avLst/>
              <a:gdLst>
                <a:gd name="connsiteX0" fmla="*/ 32773 w 241201"/>
                <a:gd name="connsiteY0" fmla="*/ 0 h 376798"/>
                <a:gd name="connsiteX1" fmla="*/ 48 w 241201"/>
                <a:gd name="connsiteY1" fmla="*/ 29613 h 376798"/>
                <a:gd name="connsiteX2" fmla="*/ 92677 w 241201"/>
                <a:gd name="connsiteY2" fmla="*/ 158838 h 376798"/>
                <a:gd name="connsiteX3" fmla="*/ 92677 w 241201"/>
                <a:gd name="connsiteY3" fmla="*/ 189329 h 376798"/>
                <a:gd name="connsiteX4" fmla="*/ 92677 w 241201"/>
                <a:gd name="connsiteY4" fmla="*/ 281279 h 376798"/>
                <a:gd name="connsiteX5" fmla="*/ 92677 w 241201"/>
                <a:gd name="connsiteY5" fmla="*/ 351759 h 376798"/>
                <a:gd name="connsiteX6" fmla="*/ 97506 w 241201"/>
                <a:gd name="connsiteY6" fmla="*/ 371354 h 376798"/>
                <a:gd name="connsiteX7" fmla="*/ 113190 w 241201"/>
                <a:gd name="connsiteY7" fmla="*/ 376463 h 376798"/>
                <a:gd name="connsiteX8" fmla="*/ 127477 w 241201"/>
                <a:gd name="connsiteY8" fmla="*/ 345014 h 376798"/>
                <a:gd name="connsiteX9" fmla="*/ 130670 w 241201"/>
                <a:gd name="connsiteY9" fmla="*/ 299917 h 376798"/>
                <a:gd name="connsiteX10" fmla="*/ 135220 w 241201"/>
                <a:gd name="connsiteY10" fmla="*/ 243047 h 376798"/>
                <a:gd name="connsiteX11" fmla="*/ 138373 w 241201"/>
                <a:gd name="connsiteY11" fmla="*/ 250150 h 376798"/>
                <a:gd name="connsiteX12" fmla="*/ 143521 w 241201"/>
                <a:gd name="connsiteY12" fmla="*/ 349843 h 376798"/>
                <a:gd name="connsiteX13" fmla="*/ 151064 w 241201"/>
                <a:gd name="connsiteY13" fmla="*/ 371714 h 376798"/>
                <a:gd name="connsiteX14" fmla="*/ 166389 w 241201"/>
                <a:gd name="connsiteY14" fmla="*/ 372671 h 376798"/>
                <a:gd name="connsiteX15" fmla="*/ 177803 w 241201"/>
                <a:gd name="connsiteY15" fmla="*/ 336434 h 376798"/>
                <a:gd name="connsiteX16" fmla="*/ 179120 w 241201"/>
                <a:gd name="connsiteY16" fmla="*/ 288543 h 376798"/>
                <a:gd name="connsiteX17" fmla="*/ 177364 w 241201"/>
                <a:gd name="connsiteY17" fmla="*/ 180429 h 376798"/>
                <a:gd name="connsiteX18" fmla="*/ 176007 w 241201"/>
                <a:gd name="connsiteY18" fmla="*/ 145828 h 376798"/>
                <a:gd name="connsiteX19" fmla="*/ 183430 w 241201"/>
                <a:gd name="connsiteY19" fmla="*/ 143832 h 376798"/>
                <a:gd name="connsiteX20" fmla="*/ 213442 w 241201"/>
                <a:gd name="connsiteY20" fmla="*/ 211558 h 376798"/>
                <a:gd name="connsiteX21" fmla="*/ 232359 w 241201"/>
                <a:gd name="connsiteY21" fmla="*/ 219580 h 376798"/>
                <a:gd name="connsiteX22" fmla="*/ 238904 w 241201"/>
                <a:gd name="connsiteY22" fmla="*/ 195595 h 376798"/>
                <a:gd name="connsiteX23" fmla="*/ 190254 w 241201"/>
                <a:gd name="connsiteY23" fmla="*/ 96061 h 376798"/>
                <a:gd name="connsiteX24" fmla="*/ 173612 w 241201"/>
                <a:gd name="connsiteY24" fmla="*/ 88479 h 376798"/>
                <a:gd name="connsiteX25" fmla="*/ 89564 w 241201"/>
                <a:gd name="connsiteY25" fmla="*/ 88598 h 376798"/>
                <a:gd name="connsiteX26" fmla="*/ 32773 w 241201"/>
                <a:gd name="connsiteY26" fmla="*/ 0 h 376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41201" h="376798">
                  <a:moveTo>
                    <a:pt x="32773" y="0"/>
                  </a:moveTo>
                  <a:cubicBezTo>
                    <a:pt x="28423" y="10137"/>
                    <a:pt x="-1349" y="30052"/>
                    <a:pt x="48" y="29613"/>
                  </a:cubicBezTo>
                  <a:cubicBezTo>
                    <a:pt x="3560" y="28495"/>
                    <a:pt x="92677" y="155246"/>
                    <a:pt x="92677" y="158838"/>
                  </a:cubicBezTo>
                  <a:lnTo>
                    <a:pt x="92677" y="189329"/>
                  </a:lnTo>
                  <a:lnTo>
                    <a:pt x="92677" y="281279"/>
                  </a:lnTo>
                  <a:cubicBezTo>
                    <a:pt x="92677" y="304746"/>
                    <a:pt x="92357" y="328292"/>
                    <a:pt x="92677" y="351759"/>
                  </a:cubicBezTo>
                  <a:cubicBezTo>
                    <a:pt x="92756" y="358783"/>
                    <a:pt x="92317" y="365727"/>
                    <a:pt x="97506" y="371354"/>
                  </a:cubicBezTo>
                  <a:cubicBezTo>
                    <a:pt x="101417" y="375585"/>
                    <a:pt x="107563" y="377660"/>
                    <a:pt x="113190" y="376463"/>
                  </a:cubicBezTo>
                  <a:cubicBezTo>
                    <a:pt x="127078" y="373430"/>
                    <a:pt x="126520" y="356069"/>
                    <a:pt x="127477" y="345014"/>
                  </a:cubicBezTo>
                  <a:cubicBezTo>
                    <a:pt x="128794" y="330009"/>
                    <a:pt x="129712" y="314963"/>
                    <a:pt x="130670" y="299917"/>
                  </a:cubicBezTo>
                  <a:cubicBezTo>
                    <a:pt x="130910" y="295926"/>
                    <a:pt x="132267" y="243326"/>
                    <a:pt x="135220" y="243047"/>
                  </a:cubicBezTo>
                  <a:cubicBezTo>
                    <a:pt x="137574" y="242807"/>
                    <a:pt x="138213" y="247796"/>
                    <a:pt x="138373" y="250150"/>
                  </a:cubicBezTo>
                  <a:cubicBezTo>
                    <a:pt x="140767" y="283315"/>
                    <a:pt x="142284" y="316599"/>
                    <a:pt x="143521" y="349843"/>
                  </a:cubicBezTo>
                  <a:cubicBezTo>
                    <a:pt x="143800" y="357905"/>
                    <a:pt x="143361" y="366725"/>
                    <a:pt x="151064" y="371714"/>
                  </a:cubicBezTo>
                  <a:cubicBezTo>
                    <a:pt x="155573" y="374627"/>
                    <a:pt x="161600" y="374986"/>
                    <a:pt x="166389" y="372671"/>
                  </a:cubicBezTo>
                  <a:cubicBezTo>
                    <a:pt x="178042" y="367004"/>
                    <a:pt x="177164" y="347569"/>
                    <a:pt x="177803" y="336434"/>
                  </a:cubicBezTo>
                  <a:cubicBezTo>
                    <a:pt x="178761" y="320510"/>
                    <a:pt x="179000" y="304507"/>
                    <a:pt x="179120" y="288543"/>
                  </a:cubicBezTo>
                  <a:cubicBezTo>
                    <a:pt x="179319" y="252505"/>
                    <a:pt x="178561" y="216467"/>
                    <a:pt x="177364" y="180429"/>
                  </a:cubicBezTo>
                  <a:cubicBezTo>
                    <a:pt x="176965" y="168895"/>
                    <a:pt x="176566" y="157362"/>
                    <a:pt x="176007" y="145828"/>
                  </a:cubicBezTo>
                  <a:cubicBezTo>
                    <a:pt x="175807" y="141598"/>
                    <a:pt x="181514" y="140081"/>
                    <a:pt x="183430" y="143832"/>
                  </a:cubicBezTo>
                  <a:cubicBezTo>
                    <a:pt x="183430" y="143832"/>
                    <a:pt x="213242" y="211079"/>
                    <a:pt x="213442" y="211558"/>
                  </a:cubicBezTo>
                  <a:cubicBezTo>
                    <a:pt x="216515" y="218502"/>
                    <a:pt x="225255" y="221935"/>
                    <a:pt x="232359" y="219580"/>
                  </a:cubicBezTo>
                  <a:cubicBezTo>
                    <a:pt x="242057" y="216387"/>
                    <a:pt x="243014" y="203576"/>
                    <a:pt x="238904" y="195595"/>
                  </a:cubicBezTo>
                  <a:cubicBezTo>
                    <a:pt x="227290" y="172926"/>
                    <a:pt x="202626" y="111227"/>
                    <a:pt x="190254" y="96061"/>
                  </a:cubicBezTo>
                  <a:cubicBezTo>
                    <a:pt x="186184" y="91073"/>
                    <a:pt x="180038" y="88239"/>
                    <a:pt x="173612" y="88479"/>
                  </a:cubicBezTo>
                  <a:lnTo>
                    <a:pt x="89564" y="88598"/>
                  </a:lnTo>
                  <a:cubicBezTo>
                    <a:pt x="81981" y="88997"/>
                    <a:pt x="32773" y="0"/>
                    <a:pt x="32773" y="0"/>
                  </a:cubicBezTo>
                </a:path>
              </a:pathLst>
            </a:custGeom>
            <a:solidFill>
              <a:srgbClr val="FFFFFF"/>
            </a:solidFill>
            <a:ln w="3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noProof="0"/>
            </a:p>
          </p:txBody>
        </p:sp>
        <p:sp>
          <p:nvSpPr>
            <p:cNvPr id="26" name="Forme libre : forme 25">
              <a:extLst>
                <a:ext uri="{FF2B5EF4-FFF2-40B4-BE49-F238E27FC236}">
                  <a16:creationId xmlns:a16="http://schemas.microsoft.com/office/drawing/2014/main" id="{E07AB408-75DD-484B-B3CE-1D0BF83F2B32}"/>
                </a:ext>
              </a:extLst>
            </p:cNvPr>
            <p:cNvSpPr/>
            <p:nvPr/>
          </p:nvSpPr>
          <p:spPr>
            <a:xfrm>
              <a:off x="10635179" y="3035428"/>
              <a:ext cx="390123" cy="578149"/>
            </a:xfrm>
            <a:custGeom>
              <a:avLst/>
              <a:gdLst>
                <a:gd name="connsiteX0" fmla="*/ 386266 w 390123"/>
                <a:gd name="connsiteY0" fmla="*/ 198773 h 578149"/>
                <a:gd name="connsiteX1" fmla="*/ 296231 w 390123"/>
                <a:gd name="connsiteY1" fmla="*/ 14074 h 578149"/>
                <a:gd name="connsiteX2" fmla="*/ 265462 w 390123"/>
                <a:gd name="connsiteY2" fmla="*/ 26 h 578149"/>
                <a:gd name="connsiteX3" fmla="*/ 109936 w 390123"/>
                <a:gd name="connsiteY3" fmla="*/ 265 h 578149"/>
                <a:gd name="connsiteX4" fmla="*/ 78008 w 390123"/>
                <a:gd name="connsiteY4" fmla="*/ 28201 h 578149"/>
                <a:gd name="connsiteX5" fmla="*/ 1942 w 390123"/>
                <a:gd name="connsiteY5" fmla="*/ 203043 h 578149"/>
                <a:gd name="connsiteX6" fmla="*/ 21617 w 390123"/>
                <a:gd name="connsiteY6" fmla="*/ 237206 h 578149"/>
                <a:gd name="connsiteX7" fmla="*/ 50232 w 390123"/>
                <a:gd name="connsiteY7" fmla="*/ 222240 h 578149"/>
                <a:gd name="connsiteX8" fmla="*/ 104109 w 390123"/>
                <a:gd name="connsiteY8" fmla="*/ 106703 h 578149"/>
                <a:gd name="connsiteX9" fmla="*/ 115643 w 390123"/>
                <a:gd name="connsiteY9" fmla="*/ 108778 h 578149"/>
                <a:gd name="connsiteX10" fmla="*/ 67991 w 390123"/>
                <a:gd name="connsiteY10" fmla="*/ 378604 h 578149"/>
                <a:gd name="connsiteX11" fmla="*/ 115643 w 390123"/>
                <a:gd name="connsiteY11" fmla="*/ 378604 h 578149"/>
                <a:gd name="connsiteX12" fmla="*/ 115643 w 390123"/>
                <a:gd name="connsiteY12" fmla="*/ 491945 h 578149"/>
                <a:gd name="connsiteX13" fmla="*/ 115643 w 390123"/>
                <a:gd name="connsiteY13" fmla="*/ 533491 h 578149"/>
                <a:gd name="connsiteX14" fmla="*/ 132165 w 390123"/>
                <a:gd name="connsiteY14" fmla="*/ 572043 h 578149"/>
                <a:gd name="connsiteX15" fmla="*/ 163693 w 390123"/>
                <a:gd name="connsiteY15" fmla="*/ 570287 h 578149"/>
                <a:gd name="connsiteX16" fmla="*/ 178220 w 390123"/>
                <a:gd name="connsiteY16" fmla="*/ 535726 h 578149"/>
                <a:gd name="connsiteX17" fmla="*/ 186402 w 390123"/>
                <a:gd name="connsiteY17" fmla="*/ 378643 h 578149"/>
                <a:gd name="connsiteX18" fmla="*/ 194224 w 390123"/>
                <a:gd name="connsiteY18" fmla="*/ 378643 h 578149"/>
                <a:gd name="connsiteX19" fmla="*/ 204041 w 390123"/>
                <a:gd name="connsiteY19" fmla="*/ 378643 h 578149"/>
                <a:gd name="connsiteX20" fmla="*/ 210307 w 390123"/>
                <a:gd name="connsiteY20" fmla="*/ 548098 h 578149"/>
                <a:gd name="connsiteX21" fmla="*/ 241436 w 390123"/>
                <a:gd name="connsiteY21" fmla="*/ 578149 h 578149"/>
                <a:gd name="connsiteX22" fmla="*/ 268574 w 390123"/>
                <a:gd name="connsiteY22" fmla="*/ 548656 h 578149"/>
                <a:gd name="connsiteX23" fmla="*/ 270490 w 390123"/>
                <a:gd name="connsiteY23" fmla="*/ 378643 h 578149"/>
                <a:gd name="connsiteX24" fmla="*/ 320456 w 390123"/>
                <a:gd name="connsiteY24" fmla="*/ 378643 h 578149"/>
                <a:gd name="connsiteX25" fmla="*/ 269812 w 390123"/>
                <a:gd name="connsiteY25" fmla="*/ 106383 h 578149"/>
                <a:gd name="connsiteX26" fmla="*/ 283580 w 390123"/>
                <a:gd name="connsiteY26" fmla="*/ 102712 h 578149"/>
                <a:gd name="connsiteX27" fmla="*/ 339094 w 390123"/>
                <a:gd name="connsiteY27" fmla="*/ 228346 h 578149"/>
                <a:gd name="connsiteX28" fmla="*/ 374613 w 390123"/>
                <a:gd name="connsiteY28" fmla="*/ 244230 h 578149"/>
                <a:gd name="connsiteX29" fmla="*/ 386266 w 390123"/>
                <a:gd name="connsiteY29" fmla="*/ 198773 h 578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0123" h="578149">
                  <a:moveTo>
                    <a:pt x="386266" y="198773"/>
                  </a:moveTo>
                  <a:cubicBezTo>
                    <a:pt x="364795" y="156709"/>
                    <a:pt x="319139" y="42210"/>
                    <a:pt x="296231" y="14074"/>
                  </a:cubicBezTo>
                  <a:cubicBezTo>
                    <a:pt x="288689" y="4815"/>
                    <a:pt x="277354" y="-413"/>
                    <a:pt x="265462" y="26"/>
                  </a:cubicBezTo>
                  <a:lnTo>
                    <a:pt x="109936" y="265"/>
                  </a:lnTo>
                  <a:cubicBezTo>
                    <a:pt x="95848" y="824"/>
                    <a:pt x="83596" y="15231"/>
                    <a:pt x="78008" y="28201"/>
                  </a:cubicBezTo>
                  <a:lnTo>
                    <a:pt x="1942" y="203043"/>
                  </a:lnTo>
                  <a:cubicBezTo>
                    <a:pt x="-4404" y="217810"/>
                    <a:pt x="5493" y="235569"/>
                    <a:pt x="21617" y="237206"/>
                  </a:cubicBezTo>
                  <a:cubicBezTo>
                    <a:pt x="32751" y="238323"/>
                    <a:pt x="45243" y="232496"/>
                    <a:pt x="50232" y="222240"/>
                  </a:cubicBezTo>
                  <a:cubicBezTo>
                    <a:pt x="61526" y="198853"/>
                    <a:pt x="90500" y="138590"/>
                    <a:pt x="104109" y="106703"/>
                  </a:cubicBezTo>
                  <a:cubicBezTo>
                    <a:pt x="106743" y="100557"/>
                    <a:pt x="115643" y="102113"/>
                    <a:pt x="115643" y="108778"/>
                  </a:cubicBezTo>
                  <a:lnTo>
                    <a:pt x="67991" y="378604"/>
                  </a:lnTo>
                  <a:lnTo>
                    <a:pt x="115643" y="378604"/>
                  </a:lnTo>
                  <a:lnTo>
                    <a:pt x="115643" y="491945"/>
                  </a:lnTo>
                  <a:cubicBezTo>
                    <a:pt x="115643" y="505794"/>
                    <a:pt x="115683" y="519642"/>
                    <a:pt x="115643" y="533491"/>
                  </a:cubicBezTo>
                  <a:cubicBezTo>
                    <a:pt x="115603" y="547419"/>
                    <a:pt x="119394" y="564301"/>
                    <a:pt x="132165" y="572043"/>
                  </a:cubicBezTo>
                  <a:cubicBezTo>
                    <a:pt x="141903" y="577910"/>
                    <a:pt x="154434" y="576513"/>
                    <a:pt x="163693" y="570287"/>
                  </a:cubicBezTo>
                  <a:cubicBezTo>
                    <a:pt x="175387" y="562425"/>
                    <a:pt x="177661" y="548976"/>
                    <a:pt x="178220" y="535726"/>
                  </a:cubicBezTo>
                  <a:cubicBezTo>
                    <a:pt x="179896" y="495777"/>
                    <a:pt x="182850" y="430046"/>
                    <a:pt x="186402" y="378643"/>
                  </a:cubicBezTo>
                  <a:lnTo>
                    <a:pt x="194224" y="378643"/>
                  </a:lnTo>
                  <a:lnTo>
                    <a:pt x="204041" y="378643"/>
                  </a:lnTo>
                  <a:cubicBezTo>
                    <a:pt x="206675" y="440822"/>
                    <a:pt x="209509" y="519164"/>
                    <a:pt x="210307" y="548098"/>
                  </a:cubicBezTo>
                  <a:cubicBezTo>
                    <a:pt x="210706" y="563143"/>
                    <a:pt x="223717" y="578149"/>
                    <a:pt x="241436" y="578149"/>
                  </a:cubicBezTo>
                  <a:cubicBezTo>
                    <a:pt x="248380" y="578149"/>
                    <a:pt x="268574" y="570926"/>
                    <a:pt x="268574" y="548656"/>
                  </a:cubicBezTo>
                  <a:cubicBezTo>
                    <a:pt x="268574" y="534648"/>
                    <a:pt x="269652" y="462253"/>
                    <a:pt x="270490" y="378643"/>
                  </a:cubicBezTo>
                  <a:lnTo>
                    <a:pt x="320456" y="378643"/>
                  </a:lnTo>
                  <a:lnTo>
                    <a:pt x="269812" y="106383"/>
                  </a:lnTo>
                  <a:cubicBezTo>
                    <a:pt x="269452" y="98561"/>
                    <a:pt x="279988" y="95728"/>
                    <a:pt x="283580" y="102712"/>
                  </a:cubicBezTo>
                  <a:cubicBezTo>
                    <a:pt x="283580" y="102712"/>
                    <a:pt x="338974" y="228066"/>
                    <a:pt x="339094" y="228346"/>
                  </a:cubicBezTo>
                  <a:cubicBezTo>
                    <a:pt x="344362" y="240318"/>
                    <a:pt x="362002" y="249777"/>
                    <a:pt x="374613" y="244230"/>
                  </a:cubicBezTo>
                  <a:cubicBezTo>
                    <a:pt x="391016" y="236966"/>
                    <a:pt x="393530" y="213021"/>
                    <a:pt x="386266" y="198773"/>
                  </a:cubicBezTo>
                </a:path>
              </a:pathLst>
            </a:custGeom>
            <a:solidFill>
              <a:srgbClr val="FFFFFF"/>
            </a:solidFill>
            <a:ln w="39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 noProof="0"/>
            </a:p>
          </p:txBody>
        </p:sp>
        <p:sp>
          <p:nvSpPr>
            <p:cNvPr id="27" name="Forme libre : forme 26">
              <a:extLst>
                <a:ext uri="{FF2B5EF4-FFF2-40B4-BE49-F238E27FC236}">
                  <a16:creationId xmlns:a16="http://schemas.microsoft.com/office/drawing/2014/main" id="{3C2254C9-4889-4836-BE58-BC0E63C2E5DA}"/>
                </a:ext>
              </a:extLst>
            </p:cNvPr>
            <p:cNvSpPr/>
            <p:nvPr/>
          </p:nvSpPr>
          <p:spPr>
            <a:xfrm>
              <a:off x="10635179" y="3035428"/>
              <a:ext cx="390123" cy="578149"/>
            </a:xfrm>
            <a:custGeom>
              <a:avLst/>
              <a:gdLst>
                <a:gd name="connsiteX0" fmla="*/ 386266 w 390123"/>
                <a:gd name="connsiteY0" fmla="*/ 198773 h 578149"/>
                <a:gd name="connsiteX1" fmla="*/ 296231 w 390123"/>
                <a:gd name="connsiteY1" fmla="*/ 14074 h 578149"/>
                <a:gd name="connsiteX2" fmla="*/ 265462 w 390123"/>
                <a:gd name="connsiteY2" fmla="*/ 26 h 578149"/>
                <a:gd name="connsiteX3" fmla="*/ 109936 w 390123"/>
                <a:gd name="connsiteY3" fmla="*/ 265 h 578149"/>
                <a:gd name="connsiteX4" fmla="*/ 78008 w 390123"/>
                <a:gd name="connsiteY4" fmla="*/ 28201 h 578149"/>
                <a:gd name="connsiteX5" fmla="*/ 1942 w 390123"/>
                <a:gd name="connsiteY5" fmla="*/ 203043 h 578149"/>
                <a:gd name="connsiteX6" fmla="*/ 21617 w 390123"/>
                <a:gd name="connsiteY6" fmla="*/ 237206 h 578149"/>
                <a:gd name="connsiteX7" fmla="*/ 50232 w 390123"/>
                <a:gd name="connsiteY7" fmla="*/ 222240 h 578149"/>
                <a:gd name="connsiteX8" fmla="*/ 104109 w 390123"/>
                <a:gd name="connsiteY8" fmla="*/ 106703 h 578149"/>
                <a:gd name="connsiteX9" fmla="*/ 115643 w 390123"/>
                <a:gd name="connsiteY9" fmla="*/ 108778 h 578149"/>
                <a:gd name="connsiteX10" fmla="*/ 67991 w 390123"/>
                <a:gd name="connsiteY10" fmla="*/ 378604 h 578149"/>
                <a:gd name="connsiteX11" fmla="*/ 115643 w 390123"/>
                <a:gd name="connsiteY11" fmla="*/ 378604 h 578149"/>
                <a:gd name="connsiteX12" fmla="*/ 115643 w 390123"/>
                <a:gd name="connsiteY12" fmla="*/ 491945 h 578149"/>
                <a:gd name="connsiteX13" fmla="*/ 115643 w 390123"/>
                <a:gd name="connsiteY13" fmla="*/ 533491 h 578149"/>
                <a:gd name="connsiteX14" fmla="*/ 132165 w 390123"/>
                <a:gd name="connsiteY14" fmla="*/ 572043 h 578149"/>
                <a:gd name="connsiteX15" fmla="*/ 163693 w 390123"/>
                <a:gd name="connsiteY15" fmla="*/ 570287 h 578149"/>
                <a:gd name="connsiteX16" fmla="*/ 178220 w 390123"/>
                <a:gd name="connsiteY16" fmla="*/ 535726 h 578149"/>
                <a:gd name="connsiteX17" fmla="*/ 186402 w 390123"/>
                <a:gd name="connsiteY17" fmla="*/ 378643 h 578149"/>
                <a:gd name="connsiteX18" fmla="*/ 194224 w 390123"/>
                <a:gd name="connsiteY18" fmla="*/ 378643 h 578149"/>
                <a:gd name="connsiteX19" fmla="*/ 204041 w 390123"/>
                <a:gd name="connsiteY19" fmla="*/ 378643 h 578149"/>
                <a:gd name="connsiteX20" fmla="*/ 210307 w 390123"/>
                <a:gd name="connsiteY20" fmla="*/ 548098 h 578149"/>
                <a:gd name="connsiteX21" fmla="*/ 241436 w 390123"/>
                <a:gd name="connsiteY21" fmla="*/ 578149 h 578149"/>
                <a:gd name="connsiteX22" fmla="*/ 268574 w 390123"/>
                <a:gd name="connsiteY22" fmla="*/ 548656 h 578149"/>
                <a:gd name="connsiteX23" fmla="*/ 270490 w 390123"/>
                <a:gd name="connsiteY23" fmla="*/ 378643 h 578149"/>
                <a:gd name="connsiteX24" fmla="*/ 320456 w 390123"/>
                <a:gd name="connsiteY24" fmla="*/ 378643 h 578149"/>
                <a:gd name="connsiteX25" fmla="*/ 269812 w 390123"/>
                <a:gd name="connsiteY25" fmla="*/ 106383 h 578149"/>
                <a:gd name="connsiteX26" fmla="*/ 283580 w 390123"/>
                <a:gd name="connsiteY26" fmla="*/ 102712 h 578149"/>
                <a:gd name="connsiteX27" fmla="*/ 339094 w 390123"/>
                <a:gd name="connsiteY27" fmla="*/ 228346 h 578149"/>
                <a:gd name="connsiteX28" fmla="*/ 374613 w 390123"/>
                <a:gd name="connsiteY28" fmla="*/ 244230 h 578149"/>
                <a:gd name="connsiteX29" fmla="*/ 386266 w 390123"/>
                <a:gd name="connsiteY29" fmla="*/ 198773 h 578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0123" h="578149">
                  <a:moveTo>
                    <a:pt x="386266" y="198773"/>
                  </a:moveTo>
                  <a:cubicBezTo>
                    <a:pt x="364795" y="156709"/>
                    <a:pt x="319139" y="42210"/>
                    <a:pt x="296231" y="14074"/>
                  </a:cubicBezTo>
                  <a:cubicBezTo>
                    <a:pt x="288689" y="4815"/>
                    <a:pt x="277354" y="-413"/>
                    <a:pt x="265462" y="26"/>
                  </a:cubicBezTo>
                  <a:lnTo>
                    <a:pt x="109936" y="265"/>
                  </a:lnTo>
                  <a:cubicBezTo>
                    <a:pt x="95848" y="824"/>
                    <a:pt x="83596" y="15231"/>
                    <a:pt x="78008" y="28201"/>
                  </a:cubicBezTo>
                  <a:lnTo>
                    <a:pt x="1942" y="203043"/>
                  </a:lnTo>
                  <a:cubicBezTo>
                    <a:pt x="-4404" y="217810"/>
                    <a:pt x="5493" y="235569"/>
                    <a:pt x="21617" y="237206"/>
                  </a:cubicBezTo>
                  <a:cubicBezTo>
                    <a:pt x="32751" y="238323"/>
                    <a:pt x="45243" y="232496"/>
                    <a:pt x="50232" y="222240"/>
                  </a:cubicBezTo>
                  <a:cubicBezTo>
                    <a:pt x="61526" y="198853"/>
                    <a:pt x="90500" y="138590"/>
                    <a:pt x="104109" y="106703"/>
                  </a:cubicBezTo>
                  <a:cubicBezTo>
                    <a:pt x="106743" y="100557"/>
                    <a:pt x="115643" y="102113"/>
                    <a:pt x="115643" y="108778"/>
                  </a:cubicBezTo>
                  <a:lnTo>
                    <a:pt x="67991" y="378604"/>
                  </a:lnTo>
                  <a:lnTo>
                    <a:pt x="115643" y="378604"/>
                  </a:lnTo>
                  <a:lnTo>
                    <a:pt x="115643" y="491945"/>
                  </a:lnTo>
                  <a:cubicBezTo>
                    <a:pt x="115643" y="505794"/>
                    <a:pt x="115683" y="519642"/>
                    <a:pt x="115643" y="533491"/>
                  </a:cubicBezTo>
                  <a:cubicBezTo>
                    <a:pt x="115603" y="547419"/>
                    <a:pt x="119394" y="564301"/>
                    <a:pt x="132165" y="572043"/>
                  </a:cubicBezTo>
                  <a:cubicBezTo>
                    <a:pt x="141903" y="577910"/>
                    <a:pt x="154434" y="576513"/>
                    <a:pt x="163693" y="570287"/>
                  </a:cubicBezTo>
                  <a:cubicBezTo>
                    <a:pt x="175387" y="562425"/>
                    <a:pt x="177661" y="548976"/>
                    <a:pt x="178220" y="535726"/>
                  </a:cubicBezTo>
                  <a:cubicBezTo>
                    <a:pt x="179896" y="495777"/>
                    <a:pt x="182850" y="430046"/>
                    <a:pt x="186402" y="378643"/>
                  </a:cubicBezTo>
                  <a:lnTo>
                    <a:pt x="194224" y="378643"/>
                  </a:lnTo>
                  <a:lnTo>
                    <a:pt x="204041" y="378643"/>
                  </a:lnTo>
                  <a:cubicBezTo>
                    <a:pt x="206675" y="440822"/>
                    <a:pt x="209509" y="519164"/>
                    <a:pt x="210307" y="548098"/>
                  </a:cubicBezTo>
                  <a:cubicBezTo>
                    <a:pt x="210706" y="563143"/>
                    <a:pt x="223717" y="578149"/>
                    <a:pt x="241436" y="578149"/>
                  </a:cubicBezTo>
                  <a:cubicBezTo>
                    <a:pt x="248380" y="578149"/>
                    <a:pt x="268574" y="570926"/>
                    <a:pt x="268574" y="548656"/>
                  </a:cubicBezTo>
                  <a:cubicBezTo>
                    <a:pt x="268574" y="534648"/>
                    <a:pt x="269652" y="462253"/>
                    <a:pt x="270490" y="378643"/>
                  </a:cubicBezTo>
                  <a:lnTo>
                    <a:pt x="320456" y="378643"/>
                  </a:lnTo>
                  <a:lnTo>
                    <a:pt x="269812" y="106383"/>
                  </a:lnTo>
                  <a:cubicBezTo>
                    <a:pt x="269452" y="98561"/>
                    <a:pt x="279988" y="95728"/>
                    <a:pt x="283580" y="102712"/>
                  </a:cubicBezTo>
                  <a:cubicBezTo>
                    <a:pt x="283580" y="102712"/>
                    <a:pt x="338974" y="228066"/>
                    <a:pt x="339094" y="228346"/>
                  </a:cubicBezTo>
                  <a:cubicBezTo>
                    <a:pt x="344362" y="240318"/>
                    <a:pt x="362002" y="249777"/>
                    <a:pt x="374613" y="244230"/>
                  </a:cubicBezTo>
                  <a:cubicBezTo>
                    <a:pt x="391016" y="236966"/>
                    <a:pt x="393530" y="213021"/>
                    <a:pt x="386266" y="198773"/>
                  </a:cubicBezTo>
                  <a:close/>
                </a:path>
              </a:pathLst>
            </a:custGeom>
            <a:noFill/>
            <a:ln w="2083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CA" noProof="0"/>
            </a:p>
          </p:txBody>
        </p:sp>
      </p:grpSp>
    </p:spTree>
    <p:extLst>
      <p:ext uri="{BB962C8B-B14F-4D97-AF65-F5344CB8AC3E}">
        <p14:creationId xmlns:p14="http://schemas.microsoft.com/office/powerpoint/2010/main" val="11341443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6280180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66BFF1A-72D6-4684-BD79-14B078D811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79818" y="3340062"/>
            <a:ext cx="4274955" cy="241151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CA" noProof="0"/>
              <a:t>Title</a:t>
            </a:r>
          </a:p>
        </p:txBody>
      </p: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57503616-0DBA-417C-8DB4-63DADA9FB8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9818" y="5835464"/>
            <a:ext cx="3522054" cy="475200"/>
          </a:xfrm>
          <a:prstGeom prst="rect">
            <a:avLst/>
          </a:prstGeom>
        </p:spPr>
        <p:txBody>
          <a:bodyPr>
            <a:noAutofit/>
          </a:bodyPr>
          <a:lstStyle>
            <a:lvl1pPr marL="0" indent="-3175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CA" noProof="0"/>
              <a:t>Date</a:t>
            </a:r>
          </a:p>
        </p:txBody>
      </p:sp>
      <p:pic>
        <p:nvPicPr>
          <p:cNvPr id="10" name="Graphic 8">
            <a:extLst>
              <a:ext uri="{FF2B5EF4-FFF2-40B4-BE49-F238E27FC236}">
                <a16:creationId xmlns:a16="http://schemas.microsoft.com/office/drawing/2014/main" id="{268E8664-6DDD-40B6-8D6A-0D99253DEC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16665" y="597522"/>
            <a:ext cx="1955820" cy="570630"/>
          </a:xfrm>
          <a:prstGeom prst="rect">
            <a:avLst/>
          </a:prstGeom>
        </p:spPr>
      </p:pic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CB72620D-2C78-4382-93A6-052DE2FA10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20278" y="1493065"/>
            <a:ext cx="4635718" cy="4836853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CA" noProof="0"/>
          </a:p>
        </p:txBody>
      </p:sp>
      <p:grpSp>
        <p:nvGrpSpPr>
          <p:cNvPr id="16" name="Groupe 11">
            <a:extLst>
              <a:ext uri="{FF2B5EF4-FFF2-40B4-BE49-F238E27FC236}">
                <a16:creationId xmlns:a16="http://schemas.microsoft.com/office/drawing/2014/main" id="{5D1AA413-AA90-45A3-AFC5-7C1788014B57}"/>
              </a:ext>
            </a:extLst>
          </p:cNvPr>
          <p:cNvGrpSpPr/>
          <p:nvPr userDrawn="1"/>
        </p:nvGrpSpPr>
        <p:grpSpPr>
          <a:xfrm>
            <a:off x="918324" y="541575"/>
            <a:ext cx="678933" cy="6316425"/>
            <a:chOff x="463086" y="0"/>
            <a:chExt cx="678933" cy="685800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6F5981B-D3CD-4742-85C5-BAC7B9234144}"/>
                </a:ext>
              </a:extLst>
            </p:cNvPr>
            <p:cNvSpPr/>
            <p:nvPr userDrawn="1"/>
          </p:nvSpPr>
          <p:spPr>
            <a:xfrm>
              <a:off x="463087" y="0"/>
              <a:ext cx="490312" cy="34289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noProof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E772FB3-F8FB-4206-8A2B-79B3B77EEC3D}"/>
                </a:ext>
              </a:extLst>
            </p:cNvPr>
            <p:cNvSpPr/>
            <p:nvPr userDrawn="1"/>
          </p:nvSpPr>
          <p:spPr>
            <a:xfrm>
              <a:off x="463086" y="5153527"/>
              <a:ext cx="490312" cy="170447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noProof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E43E72F-B5E4-48A9-8B32-3D5631785A79}"/>
                </a:ext>
              </a:extLst>
            </p:cNvPr>
            <p:cNvSpPr/>
            <p:nvPr userDrawn="1"/>
          </p:nvSpPr>
          <p:spPr>
            <a:xfrm>
              <a:off x="651707" y="3038432"/>
              <a:ext cx="490312" cy="26182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noProof="0"/>
            </a:p>
          </p:txBody>
        </p:sp>
      </p:grpSp>
    </p:spTree>
    <p:extLst>
      <p:ext uri="{BB962C8B-B14F-4D97-AF65-F5344CB8AC3E}">
        <p14:creationId xmlns:p14="http://schemas.microsoft.com/office/powerpoint/2010/main" val="23091773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1756953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63132094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96051666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7706707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7161793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42535012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49943240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7139945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19322944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482155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479C4C5-F881-4DF4-9860-F91726908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007B4C-98B3-4DD7-873A-BCAA1856A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329785-3B74-463F-A042-133190601F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9950" y="1592263"/>
            <a:ext cx="10668000" cy="4402137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B14900E-A07C-4748-85AA-479F638F78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>
              <a:latin typeface="+mn-lt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F71ADCB-3616-4C6C-B23C-A78B1E32D8C8}"/>
              </a:ext>
            </a:extLst>
          </p:cNvPr>
          <p:cNvCxnSpPr/>
          <p:nvPr userDrawn="1"/>
        </p:nvCxnSpPr>
        <p:spPr>
          <a:xfrm>
            <a:off x="12284243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A057F13-852E-42A2-A56C-F6FECDDED320}"/>
              </a:ext>
            </a:extLst>
          </p:cNvPr>
          <p:cNvSpPr txBox="1"/>
          <p:nvPr userDrawn="1"/>
        </p:nvSpPr>
        <p:spPr>
          <a:xfrm>
            <a:off x="12200021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564A3FC-6CC1-45BC-9BA5-7CB86995503F}"/>
              </a:ext>
            </a:extLst>
          </p:cNvPr>
          <p:cNvCxnSpPr>
            <a:cxnSpLocks/>
          </p:cNvCxnSpPr>
          <p:nvPr userDrawn="1"/>
        </p:nvCxnSpPr>
        <p:spPr>
          <a:xfrm>
            <a:off x="-395969" y="1592262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DA9C7F94-7799-4F2F-8309-F4E6735DC5A0}"/>
              </a:ext>
            </a:extLst>
          </p:cNvPr>
          <p:cNvSpPr txBox="1"/>
          <p:nvPr userDrawn="1"/>
        </p:nvSpPr>
        <p:spPr>
          <a:xfrm>
            <a:off x="-1013156" y="1612232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</p:spTree>
    <p:extLst>
      <p:ext uri="{BB962C8B-B14F-4D97-AF65-F5344CB8AC3E}">
        <p14:creationId xmlns:p14="http://schemas.microsoft.com/office/powerpoint/2010/main" val="7584745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867760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66BFF1A-72D6-4684-BD79-14B078D811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79818" y="3340062"/>
            <a:ext cx="8927922" cy="241151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000" b="1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AU" noProof="0"/>
              <a:t>Title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D86CE8B0-0878-496F-8058-72DC049930CF}"/>
              </a:ext>
            </a:extLst>
          </p:cNvPr>
          <p:cNvGrpSpPr/>
          <p:nvPr userDrawn="1"/>
        </p:nvGrpSpPr>
        <p:grpSpPr>
          <a:xfrm>
            <a:off x="918324" y="541575"/>
            <a:ext cx="678933" cy="6316425"/>
            <a:chOff x="463086" y="0"/>
            <a:chExt cx="678933" cy="685800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9D725F9-CCE5-43DC-9875-2DD8273F55CF}"/>
                </a:ext>
              </a:extLst>
            </p:cNvPr>
            <p:cNvSpPr/>
            <p:nvPr userDrawn="1"/>
          </p:nvSpPr>
          <p:spPr>
            <a:xfrm>
              <a:off x="463087" y="0"/>
              <a:ext cx="490312" cy="34289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noProof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FA4981D-AD3C-44C6-9628-73F4A92DAA73}"/>
                </a:ext>
              </a:extLst>
            </p:cNvPr>
            <p:cNvSpPr/>
            <p:nvPr userDrawn="1"/>
          </p:nvSpPr>
          <p:spPr>
            <a:xfrm>
              <a:off x="463086" y="5153527"/>
              <a:ext cx="490312" cy="170447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noProof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E934DFF-1EFD-40CB-9A71-D9564D8434DA}"/>
                </a:ext>
              </a:extLst>
            </p:cNvPr>
            <p:cNvSpPr/>
            <p:nvPr userDrawn="1"/>
          </p:nvSpPr>
          <p:spPr>
            <a:xfrm>
              <a:off x="651707" y="3038432"/>
              <a:ext cx="490312" cy="261827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noProof="0"/>
            </a:p>
          </p:txBody>
        </p:sp>
      </p:grpSp>
      <p:sp>
        <p:nvSpPr>
          <p:cNvPr id="17" name="Espace réservé du texte 9">
            <a:extLst>
              <a:ext uri="{FF2B5EF4-FFF2-40B4-BE49-F238E27FC236}">
                <a16:creationId xmlns:a16="http://schemas.microsoft.com/office/drawing/2014/main" id="{57503616-0DBA-417C-8DB4-63DADA9FB8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79818" y="5835464"/>
            <a:ext cx="3522054" cy="475200"/>
          </a:xfrm>
          <a:prstGeom prst="rect">
            <a:avLst/>
          </a:prstGeom>
        </p:spPr>
        <p:txBody>
          <a:bodyPr>
            <a:noAutofit/>
          </a:bodyPr>
          <a:lstStyle>
            <a:lvl1pPr marL="0" indent="-3175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>
              <a:defRPr sz="1600">
                <a:solidFill>
                  <a:schemeClr val="bg1"/>
                </a:solidFill>
                <a:latin typeface="+mj-lt"/>
              </a:defRPr>
            </a:lvl2pPr>
            <a:lvl3pPr>
              <a:defRPr sz="1600">
                <a:solidFill>
                  <a:schemeClr val="bg1"/>
                </a:solidFill>
                <a:latin typeface="+mj-lt"/>
              </a:defRPr>
            </a:lvl3pPr>
            <a:lvl4pPr>
              <a:defRPr sz="1600">
                <a:solidFill>
                  <a:schemeClr val="bg1"/>
                </a:solidFill>
                <a:latin typeface="+mj-lt"/>
              </a:defRPr>
            </a:lvl4pPr>
            <a:lvl5pPr>
              <a:defRPr sz="16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AU" noProof="0"/>
              <a:t>Da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879AF7-2311-4B59-9ACF-72CE5E491A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16665" y="597521"/>
            <a:ext cx="2166730" cy="72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329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ub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479C4C5-F881-4DF4-9860-F91726908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8" y="6257993"/>
            <a:ext cx="9788715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007B4C-98B3-4DD7-873A-BCAA1856A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329785-3B74-463F-A042-133190601F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9950" y="2120900"/>
            <a:ext cx="10668000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B14900E-A07C-4748-85AA-479F638F78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6F6E2-B7DB-4C8B-A79C-B216232DD2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10668000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4853764-9528-4BB5-A81F-6F076B183524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67C531E0-49A2-4F52-9960-6CB0CABC9BFF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6652C10-6326-4B3E-926F-63FCE5BC61F4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C10CFEF1-9E7D-4371-95B9-63F1A9BE7177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</p:spTree>
    <p:extLst>
      <p:ext uri="{BB962C8B-B14F-4D97-AF65-F5344CB8AC3E}">
        <p14:creationId xmlns:p14="http://schemas.microsoft.com/office/powerpoint/2010/main" val="16966767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2 subtitles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397067C-36F5-47E7-BA66-9B72785BF58B}"/>
              </a:ext>
            </a:extLst>
          </p:cNvPr>
          <p:cNvSpPr/>
          <p:nvPr userDrawn="1"/>
        </p:nvSpPr>
        <p:spPr>
          <a:xfrm>
            <a:off x="6216760" y="-1"/>
            <a:ext cx="5975240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479C4C5-F881-4DF4-9860-F91726908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9" y="6257993"/>
            <a:ext cx="4931946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007B4C-98B3-4DD7-873A-BCAA1856A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0" y="0"/>
            <a:ext cx="4970423" cy="102275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329785-3B74-463F-A042-133190601F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9950" y="2120900"/>
            <a:ext cx="4970423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B14900E-A07C-4748-85AA-479F638F78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6F6E2-B7DB-4C8B-A79C-B216232DD2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4970423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A511AD0-2316-46C0-BE9C-44B1C3445A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93146" y="2120900"/>
            <a:ext cx="4944803" cy="38735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CD45F9-6506-42B7-A494-579CE40AEA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93146" y="1333500"/>
            <a:ext cx="4944803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1621AD-6D36-4A98-88AD-D8048E069A17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FFE1B3A-8259-4232-B1A3-3D71C9DEFC92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BC2506-6599-42E3-ABA1-DFC1646F6528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22330F5-EC19-4FB2-ABAA-6BB0EF4EE9CC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pic>
        <p:nvPicPr>
          <p:cNvPr id="20" name="Graphic 8">
            <a:extLst>
              <a:ext uri="{FF2B5EF4-FFF2-40B4-BE49-F238E27FC236}">
                <a16:creationId xmlns:a16="http://schemas.microsoft.com/office/drawing/2014/main" id="{2FF7477D-28BC-4E55-8A95-DE6643F0E7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188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- 2 subtitles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397067C-36F5-47E7-BA66-9B72785BF58B}"/>
              </a:ext>
            </a:extLst>
          </p:cNvPr>
          <p:cNvSpPr/>
          <p:nvPr userDrawn="1"/>
        </p:nvSpPr>
        <p:spPr>
          <a:xfrm>
            <a:off x="6216760" y="-1"/>
            <a:ext cx="5975240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479C4C5-F881-4DF4-9860-F91726908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9" y="6257993"/>
            <a:ext cx="4932960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007B4C-98B3-4DD7-873A-BCAA1856A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1" y="0"/>
            <a:ext cx="4971446" cy="102275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329785-3B74-463F-A042-133190601F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9950" y="2120900"/>
            <a:ext cx="4971445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B14900E-A07C-4748-85AA-479F638F78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6F6E2-B7DB-4C8B-A79C-B216232DD2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4971445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A511AD0-2316-46C0-BE9C-44B1C3445A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97246" y="2120900"/>
            <a:ext cx="4940703" cy="38735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CD45F9-6506-42B7-A494-579CE40AEA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97246" y="1333500"/>
            <a:ext cx="4940703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1621AD-6D36-4A98-88AD-D8048E069A17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FFE1B3A-8259-4232-B1A3-3D71C9DEFC92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BC2506-6599-42E3-ABA1-DFC1646F6528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22330F5-EC19-4FB2-ABAA-6BB0EF4EE9CC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pic>
        <p:nvPicPr>
          <p:cNvPr id="20" name="Graphic 8">
            <a:extLst>
              <a:ext uri="{FF2B5EF4-FFF2-40B4-BE49-F238E27FC236}">
                <a16:creationId xmlns:a16="http://schemas.microsoft.com/office/drawing/2014/main" id="{5716D650-515C-490C-AB03-FF6E08C1C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926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- 2 subtitles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397067C-36F5-47E7-BA66-9B72785BF58B}"/>
              </a:ext>
            </a:extLst>
          </p:cNvPr>
          <p:cNvSpPr/>
          <p:nvPr userDrawn="1"/>
        </p:nvSpPr>
        <p:spPr>
          <a:xfrm>
            <a:off x="6216760" y="-1"/>
            <a:ext cx="597524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479C4C5-F881-4DF4-9860-F91726908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9" y="6257993"/>
            <a:ext cx="4932960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007B4C-98B3-4DD7-873A-BCAA1856A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1" y="0"/>
            <a:ext cx="4971446" cy="102275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329785-3B74-463F-A042-133190601F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9950" y="2120900"/>
            <a:ext cx="4971445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B14900E-A07C-4748-85AA-479F638F78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6F6E2-B7DB-4C8B-A79C-B216232DD2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50" y="1333500"/>
            <a:ext cx="4971445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A511AD0-2316-46C0-BE9C-44B1C3445A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97246" y="2120900"/>
            <a:ext cx="4940703" cy="38735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CD45F9-6506-42B7-A494-579CE40AEA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97246" y="1333500"/>
            <a:ext cx="4940703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1621AD-6D36-4A98-88AD-D8048E069A17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FFE1B3A-8259-4232-B1A3-3D71C9DEFC92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BC2506-6599-42E3-ABA1-DFC1646F6528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22330F5-EC19-4FB2-ABAA-6BB0EF4EE9CC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pic>
        <p:nvPicPr>
          <p:cNvPr id="20" name="Graphic 8">
            <a:extLst>
              <a:ext uri="{FF2B5EF4-FFF2-40B4-BE49-F238E27FC236}">
                <a16:creationId xmlns:a16="http://schemas.microsoft.com/office/drawing/2014/main" id="{5716D650-515C-490C-AB03-FF6E08C1C6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289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- 2 subtitles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397067C-36F5-47E7-BA66-9B72785BF58B}"/>
              </a:ext>
            </a:extLst>
          </p:cNvPr>
          <p:cNvSpPr/>
          <p:nvPr userDrawn="1"/>
        </p:nvSpPr>
        <p:spPr>
          <a:xfrm>
            <a:off x="8250282" y="-1"/>
            <a:ext cx="3941717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479C4C5-F881-4DF4-9860-F91726908B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9449" y="6257993"/>
            <a:ext cx="6960346" cy="3238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buNone/>
              <a:defRPr sz="800">
                <a:latin typeface="+mj-lt"/>
              </a:defRPr>
            </a:lvl1pPr>
            <a:lvl2pPr>
              <a:defRPr sz="1000">
                <a:latin typeface="+mj-lt"/>
              </a:defRPr>
            </a:lvl2pPr>
            <a:lvl3pPr>
              <a:defRPr sz="1000">
                <a:latin typeface="+mj-lt"/>
              </a:defRPr>
            </a:lvl3pPr>
            <a:lvl4pPr>
              <a:defRPr sz="1000">
                <a:latin typeface="+mj-lt"/>
              </a:defRPr>
            </a:lvl4pPr>
            <a:lvl5pPr>
              <a:defRPr sz="1000">
                <a:latin typeface="+mj-lt"/>
              </a:defRPr>
            </a:lvl5pPr>
          </a:lstStyle>
          <a:p>
            <a:pPr lvl="0"/>
            <a:r>
              <a:rPr lang="en-CA" noProof="0"/>
              <a:t>1. No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007B4C-98B3-4DD7-873A-BCAA1856A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49" y="0"/>
            <a:ext cx="6999845" cy="1022751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CA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2329785-3B74-463F-A042-133190601F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9949" y="2120900"/>
            <a:ext cx="6999846" cy="3873500"/>
          </a:xfrm>
        </p:spPr>
        <p:txBody>
          <a:bodyPr/>
          <a:lstStyle>
            <a:lvl2pPr>
              <a:defRPr b="0"/>
            </a:lvl2pPr>
            <a:lvl3pPr>
              <a:defRPr b="0"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B14900E-A07C-4748-85AA-479F638F78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8D877B3-D348-4611-9BDB-C5374591D951}" type="slidenum">
              <a:rPr lang="en-CA" noProof="0" smtClean="0"/>
              <a:pPr/>
              <a:t>‹#›</a:t>
            </a:fld>
            <a:endParaRPr lang="en-CA" noProof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6F6E2-B7DB-4C8B-A79C-B216232DD2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9949" y="1333500"/>
            <a:ext cx="6999846" cy="508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A511AD0-2316-46C0-BE9C-44B1C3445A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0769" y="1333500"/>
            <a:ext cx="2907181" cy="466090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1621AD-6D36-4A98-88AD-D8048E069A17}"/>
              </a:ext>
            </a:extLst>
          </p:cNvPr>
          <p:cNvCxnSpPr/>
          <p:nvPr userDrawn="1"/>
        </p:nvCxnSpPr>
        <p:spPr>
          <a:xfrm>
            <a:off x="12284243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FFE1B3A-8259-4232-B1A3-3D71C9DEFC92}"/>
              </a:ext>
            </a:extLst>
          </p:cNvPr>
          <p:cNvSpPr txBox="1"/>
          <p:nvPr userDrawn="1"/>
        </p:nvSpPr>
        <p:spPr>
          <a:xfrm>
            <a:off x="12200021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BC2506-6599-42E3-ABA1-DFC1646F6528}"/>
              </a:ext>
            </a:extLst>
          </p:cNvPr>
          <p:cNvCxnSpPr>
            <a:cxnSpLocks/>
          </p:cNvCxnSpPr>
          <p:nvPr userDrawn="1"/>
        </p:nvCxnSpPr>
        <p:spPr>
          <a:xfrm>
            <a:off x="-395969" y="2099806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22330F5-EC19-4FB2-ABAA-6BB0EF4EE9CC}"/>
              </a:ext>
            </a:extLst>
          </p:cNvPr>
          <p:cNvSpPr txBox="1"/>
          <p:nvPr userDrawn="1"/>
        </p:nvSpPr>
        <p:spPr>
          <a:xfrm>
            <a:off x="-1013156" y="2119776"/>
            <a:ext cx="100219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CA" sz="700" b="0" i="0" u="none" strike="noStrike" baseline="0" noProof="0">
                <a:solidFill>
                  <a:srgbClr val="221F1F"/>
                </a:solidFill>
              </a:rPr>
              <a:t>Beginning of content</a:t>
            </a:r>
          </a:p>
        </p:txBody>
      </p:sp>
      <p:pic>
        <p:nvPicPr>
          <p:cNvPr id="20" name="Graphic 8">
            <a:extLst>
              <a:ext uri="{FF2B5EF4-FFF2-40B4-BE49-F238E27FC236}">
                <a16:creationId xmlns:a16="http://schemas.microsoft.com/office/drawing/2014/main" id="{9F380858-3108-46C6-B9AD-7440D3D193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56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19.emf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BD806F-6DD6-B8A4-4D43-756F09062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20997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9" imgH="349" progId="TCLayout.ActiveDocument.1">
                  <p:embed/>
                </p:oleObj>
              </mc:Choice>
              <mc:Fallback>
                <p:oleObj name="think-cell Slide" r:id="rId32" imgW="349" imgH="34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BD806F-6DD6-B8A4-4D43-756F090623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9950" y="0"/>
            <a:ext cx="10668000" cy="1022751"/>
          </a:xfrm>
          <a:prstGeom prst="rect">
            <a:avLst/>
          </a:prstGeom>
          <a:effectLst/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CA" noProof="0"/>
              <a:t>Your title here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69950" y="1592262"/>
            <a:ext cx="10668000" cy="45672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noProof="0"/>
              <a:t>Write here text</a:t>
            </a:r>
          </a:p>
          <a:p>
            <a:pPr lvl="1"/>
            <a:r>
              <a:rPr lang="en-CA" noProof="0"/>
              <a:t>Write here text</a:t>
            </a:r>
          </a:p>
          <a:p>
            <a:pPr lvl="2"/>
            <a:r>
              <a:rPr lang="en-CA" noProof="0"/>
              <a:t>Write here text</a:t>
            </a: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133545" y="6344679"/>
            <a:ext cx="513735" cy="227164"/>
          </a:xfrm>
          <a:prstGeom prst="rect">
            <a:avLst/>
          </a:prstGeom>
          <a:noFill/>
        </p:spPr>
        <p:txBody>
          <a:bodyPr vert="horz" lIns="0" tIns="0" rIns="0" bIns="0" rtlCol="0" anchor="b"/>
          <a:lstStyle>
            <a:lvl1pPr algn="r">
              <a:defRPr sz="803" b="0" i="0">
                <a:solidFill>
                  <a:schemeClr val="tx1"/>
                </a:solidFill>
                <a:latin typeface="+mn-lt"/>
                <a:ea typeface="Open Sans" charset="0"/>
                <a:cs typeface="Open Sans" charset="0"/>
              </a:defRPr>
            </a:lvl1pPr>
          </a:lstStyle>
          <a:p>
            <a:pPr algn="r"/>
            <a:fld id="{D8D877B3-D348-4611-9BDB-C5374591D951}" type="slidenum">
              <a:rPr lang="en-CA" noProof="0" smtClean="0"/>
              <a:pPr algn="r"/>
              <a:t>‹#›</a:t>
            </a:fld>
            <a:endParaRPr lang="en-CA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AF88A0-AAD0-304C-9F52-487C3F881140}"/>
              </a:ext>
            </a:extLst>
          </p:cNvPr>
          <p:cNvSpPr/>
          <p:nvPr userDrawn="1"/>
        </p:nvSpPr>
        <p:spPr>
          <a:xfrm>
            <a:off x="0" y="0"/>
            <a:ext cx="133545" cy="3428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DBF4E5F-655F-466F-84BD-B0EFE51A12CC}"/>
              </a:ext>
            </a:extLst>
          </p:cNvPr>
          <p:cNvCxnSpPr>
            <a:cxnSpLocks/>
          </p:cNvCxnSpPr>
          <p:nvPr userDrawn="1"/>
        </p:nvCxnSpPr>
        <p:spPr>
          <a:xfrm>
            <a:off x="869950" y="1181100"/>
            <a:ext cx="742950" cy="0"/>
          </a:xfrm>
          <a:prstGeom prst="line">
            <a:avLst/>
          </a:prstGeom>
          <a:ln w="5715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25F443-E44A-49F4-848A-124D2FB8C091}"/>
              </a:ext>
            </a:extLst>
          </p:cNvPr>
          <p:cNvCxnSpPr>
            <a:cxnSpLocks/>
          </p:cNvCxnSpPr>
          <p:nvPr userDrawn="1"/>
        </p:nvCxnSpPr>
        <p:spPr>
          <a:xfrm flipV="1">
            <a:off x="768350" y="6337300"/>
            <a:ext cx="0" cy="266700"/>
          </a:xfrm>
          <a:prstGeom prst="line">
            <a:avLst/>
          </a:prstGeom>
          <a:ln w="5715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DD74ED0E-6565-467B-832B-BDA8F2F06FB3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0857266" y="6374727"/>
            <a:ext cx="706084" cy="20600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2DCBF03-94DA-406A-A9BE-4D55724B4764}"/>
              </a:ext>
            </a:extLst>
          </p:cNvPr>
          <p:cNvCxnSpPr/>
          <p:nvPr userDrawn="1"/>
        </p:nvCxnSpPr>
        <p:spPr>
          <a:xfrm>
            <a:off x="12284243" y="6175624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0515440-957D-4B13-B279-48888B965BEB}"/>
              </a:ext>
            </a:extLst>
          </p:cNvPr>
          <p:cNvCxnSpPr>
            <a:cxnSpLocks/>
          </p:cNvCxnSpPr>
          <p:nvPr userDrawn="1"/>
        </p:nvCxnSpPr>
        <p:spPr>
          <a:xfrm>
            <a:off x="-395969" y="6175624"/>
            <a:ext cx="288758" cy="0"/>
          </a:xfrm>
          <a:prstGeom prst="line">
            <a:avLst/>
          </a:prstGeom>
          <a:ln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D0E414AD-1870-4A0B-829D-94B83F026178}"/>
              </a:ext>
            </a:extLst>
          </p:cNvPr>
          <p:cNvSpPr/>
          <p:nvPr userDrawn="1"/>
        </p:nvSpPr>
        <p:spPr>
          <a:xfrm>
            <a:off x="-932508" y="5731419"/>
            <a:ext cx="920231" cy="404280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pPr algn="r">
              <a:spcBef>
                <a:spcPts val="600"/>
              </a:spcBef>
            </a:pPr>
            <a:r>
              <a:rPr lang="en-CA" sz="700" b="0" i="0" noProof="0">
                <a:solidFill>
                  <a:schemeClr val="tx1"/>
                </a:solidFill>
                <a:latin typeface="Arial"/>
                <a:cs typeface="Arial"/>
              </a:rPr>
              <a:t>No object (or text) should appear below this lin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7FBF368-EFDE-4761-A266-F530AC06052F}"/>
              </a:ext>
            </a:extLst>
          </p:cNvPr>
          <p:cNvSpPr/>
          <p:nvPr userDrawn="1"/>
        </p:nvSpPr>
        <p:spPr>
          <a:xfrm>
            <a:off x="0" y="3429002"/>
            <a:ext cx="133545" cy="1704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CD964AE-50E9-46B8-82E5-45364E8502DA}"/>
              </a:ext>
            </a:extLst>
          </p:cNvPr>
          <p:cNvSpPr/>
          <p:nvPr userDrawn="1"/>
        </p:nvSpPr>
        <p:spPr>
          <a:xfrm>
            <a:off x="0" y="5133476"/>
            <a:ext cx="133545" cy="17245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9DA9FBBE-DBA1-4225-865D-1EB0BD543E18}"/>
              </a:ext>
            </a:extLst>
          </p:cNvPr>
          <p:cNvSpPr txBox="1"/>
          <p:nvPr userDrawn="1"/>
        </p:nvSpPr>
        <p:spPr>
          <a:xfrm>
            <a:off x="869950" y="6686663"/>
            <a:ext cx="7112000" cy="20005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l"/>
            <a:r>
              <a:rPr lang="en-CA" sz="700" i="1" noProof="0">
                <a:solidFill>
                  <a:schemeClr val="bg2"/>
                </a:solidFill>
              </a:rPr>
              <a:t>Saputo Inc. and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37506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hf hdr="0" ftr="0" dt="0"/>
  <p:txStyles>
    <p:titleStyle>
      <a:lvl1pPr algn="l" defTabSz="914318" rtl="0" eaLnBrk="1" latinLnBrk="0" hangingPunct="1">
        <a:lnSpc>
          <a:spcPct val="90000"/>
        </a:lnSpc>
        <a:spcBef>
          <a:spcPct val="0"/>
        </a:spcBef>
        <a:buNone/>
        <a:defRPr sz="3200" b="1" kern="120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100" indent="-292100" algn="l" defTabSz="914318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187325" algn="l" defTabSz="914318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Wingdings" panose="05000000000000000000" pitchFamily="2" charset="2"/>
        <a:buChar char="§"/>
        <a:defRPr sz="1800" b="0" i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266700" algn="l" defTabSz="914318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bg2"/>
        </a:buClr>
        <a:buFont typeface="Wingdings" panose="05000000000000000000" pitchFamily="2" charset="2"/>
        <a:buChar char="§"/>
        <a:defRPr sz="1400" b="0" i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169988" indent="-187325" algn="l" defTabSz="914318" rtl="0" eaLnBrk="1" latinLnBrk="0" hangingPunct="1">
        <a:lnSpc>
          <a:spcPct val="150000"/>
        </a:lnSpc>
        <a:spcBef>
          <a:spcPts val="499"/>
        </a:spcBef>
        <a:buFont typeface="Wingdings" panose="05000000000000000000" pitchFamily="2" charset="2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524000" indent="-176213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448">
          <p15:clr>
            <a:srgbClr val="F26B43"/>
          </p15:clr>
        </p15:guide>
        <p15:guide id="29" pos="7268">
          <p15:clr>
            <a:srgbClr val="F26B43"/>
          </p15:clr>
        </p15:guide>
        <p15:guide id="48" pos="548">
          <p15:clr>
            <a:srgbClr val="F26B43"/>
          </p15:clr>
        </p15:guide>
        <p15:guide id="51" orient="horz" pos="1003">
          <p15:clr>
            <a:srgbClr val="F26B43"/>
          </p15:clr>
        </p15:guide>
        <p15:guide id="52" orient="horz" pos="388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BE49B6-ECA8-4F4A-AC44-F9BCCB6F2EDD}" type="datetimeFigureOut">
              <a:rPr lang="en-AU" smtClean="0"/>
              <a:t>1/05/2025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30D6B9-7251-453A-B8C2-EF0857667DA9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40324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913B7D4F-3762-8F1E-CCA0-48B14661B0FB}"/>
              </a:ext>
            </a:extLst>
          </p:cNvPr>
          <p:cNvGrpSpPr/>
          <p:nvPr/>
        </p:nvGrpSpPr>
        <p:grpSpPr>
          <a:xfrm>
            <a:off x="-1" y="0"/>
            <a:ext cx="12201526" cy="6867525"/>
            <a:chOff x="-1" y="0"/>
            <a:chExt cx="12201526" cy="686752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0A51856-94D7-10D5-DD28-BF629CE34F96}"/>
                </a:ext>
              </a:extLst>
            </p:cNvPr>
            <p:cNvSpPr/>
            <p:nvPr/>
          </p:nvSpPr>
          <p:spPr>
            <a:xfrm>
              <a:off x="0" y="0"/>
              <a:ext cx="12192001" cy="6858000"/>
            </a:xfrm>
            <a:prstGeom prst="rect">
              <a:avLst/>
            </a:prstGeom>
            <a:solidFill>
              <a:srgbClr val="AB635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6F9BC0-BE03-0A81-4DB9-B80711C9577B}"/>
                </a:ext>
              </a:extLst>
            </p:cNvPr>
            <p:cNvSpPr/>
            <p:nvPr/>
          </p:nvSpPr>
          <p:spPr>
            <a:xfrm>
              <a:off x="6105525" y="0"/>
              <a:ext cx="6096000" cy="3429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AD8A64B-5A0B-8184-2099-B0A95D90DEED}"/>
                </a:ext>
              </a:extLst>
            </p:cNvPr>
            <p:cNvSpPr/>
            <p:nvPr/>
          </p:nvSpPr>
          <p:spPr>
            <a:xfrm>
              <a:off x="2847900" y="2270244"/>
              <a:ext cx="4737463" cy="2615041"/>
            </a:xfrm>
            <a:custGeom>
              <a:avLst/>
              <a:gdLst>
                <a:gd name="connsiteX0" fmla="*/ 0 w 3457303"/>
                <a:gd name="connsiteY0" fmla="*/ 2327657 h 2327657"/>
                <a:gd name="connsiteX1" fmla="*/ 3457303 w 3457303"/>
                <a:gd name="connsiteY1" fmla="*/ 72137 h 232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7303" h="2327657">
                  <a:moveTo>
                    <a:pt x="0" y="2327657"/>
                  </a:moveTo>
                  <a:cubicBezTo>
                    <a:pt x="637903" y="1000325"/>
                    <a:pt x="1275806" y="-327006"/>
                    <a:pt x="3457303" y="72137"/>
                  </a:cubicBezTo>
                </a:path>
              </a:pathLst>
            </a:cu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846C4B6-5AAE-657E-467E-8B9AA20A2B4E}"/>
                </a:ext>
              </a:extLst>
            </p:cNvPr>
            <p:cNvSpPr/>
            <p:nvPr/>
          </p:nvSpPr>
          <p:spPr>
            <a:xfrm>
              <a:off x="3648347" y="2783205"/>
              <a:ext cx="4737463" cy="271707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D6E9712-0564-D036-6020-0A1A33F9EA1A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E895750-3FB0-6D1A-3C02-0CCC310AAA32}"/>
                </a:ext>
              </a:extLst>
            </p:cNvPr>
            <p:cNvSpPr/>
            <p:nvPr/>
          </p:nvSpPr>
          <p:spPr>
            <a:xfrm>
              <a:off x="-1" y="3438525"/>
              <a:ext cx="6096000" cy="3429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</p:grpSp>
      <p:pic>
        <p:nvPicPr>
          <p:cNvPr id="23" name="Picture 22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0F620358-8F29-133A-CFD2-D305A98E85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45"/>
          <a:stretch/>
        </p:blipFill>
        <p:spPr>
          <a:xfrm>
            <a:off x="3849977" y="388793"/>
            <a:ext cx="4492044" cy="1823600"/>
          </a:xfrm>
          <a:prstGeom prst="rect">
            <a:avLst/>
          </a:prstGeom>
        </p:spPr>
      </p:pic>
      <p:pic>
        <p:nvPicPr>
          <p:cNvPr id="24" name="Picture 23" descr="A box of mozzarella cheese&#10;&#10;Description automatically generated">
            <a:extLst>
              <a:ext uri="{FF2B5EF4-FFF2-40B4-BE49-F238E27FC236}">
                <a16:creationId xmlns:a16="http://schemas.microsoft.com/office/drawing/2014/main" id="{69DDF244-7076-AA41-DD8D-EAF7356851E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9" t="21969" r="5057" b="22175"/>
          <a:stretch/>
        </p:blipFill>
        <p:spPr>
          <a:xfrm>
            <a:off x="6160708" y="2471941"/>
            <a:ext cx="4412698" cy="261504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54181E3B-5945-9F07-8E4F-6A9F9603148A}"/>
              </a:ext>
            </a:extLst>
          </p:cNvPr>
          <p:cNvSpPr txBox="1"/>
          <p:nvPr/>
        </p:nvSpPr>
        <p:spPr>
          <a:xfrm>
            <a:off x="587537" y="2589107"/>
            <a:ext cx="4948658" cy="34163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marR="0" lvl="0" indent="-17145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21F1F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Available to Order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1F1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W/C 1/07/24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List Price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1F1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POA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21F1F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ode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1F1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1017768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cs typeface="Arial"/>
              </a:rPr>
              <a:t>EA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: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9300639619040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UN: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19300639619047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cs typeface="Arial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21F1F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21F1F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red Walker Frozen Mozzarella is an Australian made stretched Mozzarella made from whole milk. It is a creamy, milky, mild flavored cheese. </a:t>
            </a: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1F1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1450" marR="0" lvl="0" indent="-17145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1F1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1450" marR="0" lvl="0" indent="-17145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1F1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1450" marR="0" lvl="0" indent="-171450" algn="l" defTabSz="914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221F1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FD159550-80BA-592D-6E6C-CFD83FF843B8}"/>
              </a:ext>
            </a:extLst>
          </p:cNvPr>
          <p:cNvGraphicFramePr>
            <a:graphicFrameLocks noGrp="1"/>
          </p:cNvGraphicFramePr>
          <p:nvPr/>
        </p:nvGraphicFramePr>
        <p:xfrm>
          <a:off x="660304" y="5463696"/>
          <a:ext cx="7067634" cy="889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77939">
                  <a:extLst>
                    <a:ext uri="{9D8B030D-6E8A-4147-A177-3AD203B41FA5}">
                      <a16:colId xmlns:a16="http://schemas.microsoft.com/office/drawing/2014/main" val="3869139917"/>
                    </a:ext>
                  </a:extLst>
                </a:gridCol>
                <a:gridCol w="1177939">
                  <a:extLst>
                    <a:ext uri="{9D8B030D-6E8A-4147-A177-3AD203B41FA5}">
                      <a16:colId xmlns:a16="http://schemas.microsoft.com/office/drawing/2014/main" val="661049060"/>
                    </a:ext>
                  </a:extLst>
                </a:gridCol>
                <a:gridCol w="1177939">
                  <a:extLst>
                    <a:ext uri="{9D8B030D-6E8A-4147-A177-3AD203B41FA5}">
                      <a16:colId xmlns:a16="http://schemas.microsoft.com/office/drawing/2014/main" val="3021503276"/>
                    </a:ext>
                  </a:extLst>
                </a:gridCol>
                <a:gridCol w="1177939">
                  <a:extLst>
                    <a:ext uri="{9D8B030D-6E8A-4147-A177-3AD203B41FA5}">
                      <a16:colId xmlns:a16="http://schemas.microsoft.com/office/drawing/2014/main" val="2534822226"/>
                    </a:ext>
                  </a:extLst>
                </a:gridCol>
                <a:gridCol w="1177939">
                  <a:extLst>
                    <a:ext uri="{9D8B030D-6E8A-4147-A177-3AD203B41FA5}">
                      <a16:colId xmlns:a16="http://schemas.microsoft.com/office/drawing/2014/main" val="3912409491"/>
                    </a:ext>
                  </a:extLst>
                </a:gridCol>
                <a:gridCol w="1177939">
                  <a:extLst>
                    <a:ext uri="{9D8B030D-6E8A-4147-A177-3AD203B41FA5}">
                      <a16:colId xmlns:a16="http://schemas.microsoft.com/office/drawing/2014/main" val="15983941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Units Per Carton</a:t>
                      </a:r>
                      <a:endParaRPr lang="en-AU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Cartons Per Layer</a:t>
                      </a:r>
                      <a:endParaRPr lang="en-AU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Layers Per Pallet</a:t>
                      </a:r>
                      <a:endParaRPr lang="en-AU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Cartons Per Pallet</a:t>
                      </a:r>
                      <a:endParaRPr lang="en-AU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Max Shelf Life</a:t>
                      </a:r>
                      <a:endParaRPr lang="en-AU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MOQ</a:t>
                      </a:r>
                      <a:endParaRPr lang="en-AU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9687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x10kg</a:t>
                      </a:r>
                      <a:endParaRPr lang="en-AU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8</a:t>
                      </a:r>
                      <a:endParaRPr lang="en-AU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</a:t>
                      </a:r>
                      <a:endParaRPr lang="en-AU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0</a:t>
                      </a:r>
                      <a:endParaRPr lang="en-AU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65 Days</a:t>
                      </a:r>
                      <a:endParaRPr lang="en-AU" sz="14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80 Cartons</a:t>
                      </a:r>
                      <a:endParaRPr lang="en-AU" sz="14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996749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763754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913B7D4F-3762-8F1E-CCA0-48B14661B0FB}"/>
              </a:ext>
            </a:extLst>
          </p:cNvPr>
          <p:cNvGrpSpPr/>
          <p:nvPr/>
        </p:nvGrpSpPr>
        <p:grpSpPr>
          <a:xfrm>
            <a:off x="-1" y="0"/>
            <a:ext cx="12201526" cy="6867525"/>
            <a:chOff x="-1" y="0"/>
            <a:chExt cx="12201526" cy="686752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0A51856-94D7-10D5-DD28-BF629CE34F96}"/>
                </a:ext>
              </a:extLst>
            </p:cNvPr>
            <p:cNvSpPr/>
            <p:nvPr/>
          </p:nvSpPr>
          <p:spPr>
            <a:xfrm>
              <a:off x="0" y="0"/>
              <a:ext cx="12192001" cy="6858000"/>
            </a:xfrm>
            <a:prstGeom prst="rect">
              <a:avLst/>
            </a:prstGeom>
            <a:solidFill>
              <a:srgbClr val="AB635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E6F9BC0-BE03-0A81-4DB9-B80711C9577B}"/>
                </a:ext>
              </a:extLst>
            </p:cNvPr>
            <p:cNvSpPr/>
            <p:nvPr/>
          </p:nvSpPr>
          <p:spPr>
            <a:xfrm>
              <a:off x="6105525" y="0"/>
              <a:ext cx="6096000" cy="3429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AD8A64B-5A0B-8184-2099-B0A95D90DEED}"/>
                </a:ext>
              </a:extLst>
            </p:cNvPr>
            <p:cNvSpPr/>
            <p:nvPr/>
          </p:nvSpPr>
          <p:spPr>
            <a:xfrm>
              <a:off x="2847900" y="2270244"/>
              <a:ext cx="4737463" cy="2615041"/>
            </a:xfrm>
            <a:custGeom>
              <a:avLst/>
              <a:gdLst>
                <a:gd name="connsiteX0" fmla="*/ 0 w 3457303"/>
                <a:gd name="connsiteY0" fmla="*/ 2327657 h 2327657"/>
                <a:gd name="connsiteX1" fmla="*/ 3457303 w 3457303"/>
                <a:gd name="connsiteY1" fmla="*/ 72137 h 232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57303" h="2327657">
                  <a:moveTo>
                    <a:pt x="0" y="2327657"/>
                  </a:moveTo>
                  <a:cubicBezTo>
                    <a:pt x="637903" y="1000325"/>
                    <a:pt x="1275806" y="-327006"/>
                    <a:pt x="3457303" y="72137"/>
                  </a:cubicBezTo>
                </a:path>
              </a:pathLst>
            </a:custGeom>
            <a:solidFill>
              <a:schemeClr val="accent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846C4B6-5AAE-657E-467E-8B9AA20A2B4E}"/>
                </a:ext>
              </a:extLst>
            </p:cNvPr>
            <p:cNvSpPr/>
            <p:nvPr/>
          </p:nvSpPr>
          <p:spPr>
            <a:xfrm>
              <a:off x="3648347" y="2783205"/>
              <a:ext cx="4737463" cy="2717074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D6E9712-0564-D036-6020-0A1A33F9EA1A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E895750-3FB0-6D1A-3C02-0CCC310AAA32}"/>
                </a:ext>
              </a:extLst>
            </p:cNvPr>
            <p:cNvSpPr/>
            <p:nvPr/>
          </p:nvSpPr>
          <p:spPr>
            <a:xfrm>
              <a:off x="-1" y="3438525"/>
              <a:ext cx="6096000" cy="3429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/>
              </a:endParaRPr>
            </a:p>
          </p:txBody>
        </p:sp>
      </p:grpSp>
      <p:pic>
        <p:nvPicPr>
          <p:cNvPr id="23" name="Picture 22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0F620358-8F29-133A-CFD2-D305A98E85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45"/>
          <a:stretch/>
        </p:blipFill>
        <p:spPr>
          <a:xfrm>
            <a:off x="3849977" y="236393"/>
            <a:ext cx="4492044" cy="1823600"/>
          </a:xfrm>
          <a:prstGeom prst="rect">
            <a:avLst/>
          </a:prstGeom>
        </p:spPr>
      </p:pic>
      <p:pic>
        <p:nvPicPr>
          <p:cNvPr id="24" name="Picture 23" descr="A box of mozzarella cheese&#10;&#10;Description automatically generated">
            <a:extLst>
              <a:ext uri="{FF2B5EF4-FFF2-40B4-BE49-F238E27FC236}">
                <a16:creationId xmlns:a16="http://schemas.microsoft.com/office/drawing/2014/main" id="{69DDF244-7076-AA41-DD8D-EAF7356851E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89" t="21969" r="5057" b="23265"/>
          <a:stretch/>
        </p:blipFill>
        <p:spPr>
          <a:xfrm>
            <a:off x="7220723" y="2525737"/>
            <a:ext cx="4265801" cy="247867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F83EA8-DDFA-3A24-9222-30ECE3F048E3}"/>
              </a:ext>
            </a:extLst>
          </p:cNvPr>
          <p:cNvSpPr txBox="1"/>
          <p:nvPr/>
        </p:nvSpPr>
        <p:spPr>
          <a:xfrm>
            <a:off x="744683" y="2083774"/>
            <a:ext cx="6095999" cy="48320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artons per pallet</a:t>
            </a: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:</a:t>
            </a: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cs typeface="Arial"/>
              </a:rPr>
              <a:t> </a:t>
            </a: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AB635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40 (chimney stacked, centre cavity allows for more uniform freezing and thawing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cs typeface="Arial"/>
              </a:rPr>
              <a:t>Thawing Instructions at 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1 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cs typeface="Arial"/>
              </a:rPr>
              <a:t>to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4C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°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: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cs typeface="Arial"/>
              </a:rPr>
              <a:t> </a:t>
            </a:r>
            <a:endParaRPr kumimoji="0" lang="en-AU" sz="1400" b="1" i="0" u="none" strike="noStrike" kern="1200" cap="none" spc="0" normalizeH="0" baseline="0" noProof="0">
              <a:ln>
                <a:noFill/>
              </a:ln>
              <a:solidFill>
                <a:srgbClr val="AB635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or optimal results thaw 20kg cartons individually (unstacked with space/airflow between) over 2 to 3 days and shred immediatel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Individual 10kg blocks will thaw overnigh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Place pallet in 2 to 4°C storage to thaw over 2 to 3 weeks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Post Thaw Instructions:</a:t>
            </a:r>
            <a:r>
              <a:rPr kumimoji="0" lang="en-AU" sz="1400" b="1" i="0" u="none" strike="noStrike" kern="1200" cap="none" spc="0" normalizeH="0" baseline="0" noProof="0">
                <a:ln>
                  <a:noFill/>
                </a:ln>
                <a:solidFill>
                  <a:srgbClr val="AB635E"/>
                </a:solidFill>
                <a:effectLst/>
                <a:uLnTx/>
                <a:uFillTx/>
                <a:latin typeface="Calibri"/>
                <a:cs typeface="Arial"/>
              </a:rPr>
              <a:t> </a:t>
            </a:r>
            <a:endParaRPr kumimoji="0" lang="en-AU" sz="1400" b="1" i="0" u="none" strike="noStrike" kern="1200" cap="none" spc="0" normalizeH="0" baseline="0" noProof="0">
              <a:ln>
                <a:noFill/>
              </a:ln>
              <a:solidFill>
                <a:srgbClr val="AB635E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hawed mozzarella to be stored between 1 to 4°C, the lower the temperature the better to minimise body breakdow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Optimal conditions for shredding are 0 to 2°C .</a:t>
            </a: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/>
              </a:rPr>
              <a:t> </a:t>
            </a: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Customers will need to monitor based on their own coolroom temp/air flow</a:t>
            </a: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Use within 7 days of thaw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2978802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Ravi Powerpoint Template">
  <a:themeElements>
    <a:clrScheme name="Saputo">
      <a:dk1>
        <a:srgbClr val="000000"/>
      </a:dk1>
      <a:lt1>
        <a:srgbClr val="FFFFFF"/>
      </a:lt1>
      <a:dk2>
        <a:srgbClr val="C0C0BD"/>
      </a:dk2>
      <a:lt2>
        <a:srgbClr val="9E9F9E"/>
      </a:lt2>
      <a:accent1>
        <a:srgbClr val="E31B23"/>
      </a:accent1>
      <a:accent2>
        <a:srgbClr val="595959"/>
      </a:accent2>
      <a:accent3>
        <a:srgbClr val="000000"/>
      </a:accent3>
      <a:accent4>
        <a:srgbClr val="C0C0BD"/>
      </a:accent4>
      <a:accent5>
        <a:srgbClr val="F8F5EB"/>
      </a:accent5>
      <a:accent6>
        <a:srgbClr val="F2F2F2"/>
      </a:accent6>
      <a:hlink>
        <a:srgbClr val="E31B23"/>
      </a:hlink>
      <a:folHlink>
        <a:srgbClr val="710D1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>
        <a:spAutoFit/>
      </a:bodyPr>
      <a:lstStyle>
        <a:defPPr algn="l">
          <a:defRPr sz="1800" b="0" i="0" u="none" strike="noStrike" baseline="0" dirty="0">
            <a:solidFill>
              <a:srgbClr val="221F1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N_FY23_Saputo template" id="{1947F06E-25FE-4461-975C-227ED1D3FB6A}" vid="{AC604368-957D-4ECB-93C1-1D88290AE658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db04bd20-72f3-411d-9324-63094fc42163}" enabled="1" method="Standard" siteId="{0b6a780e-a9c6-4482-97dc-2aecb06ee1b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2</TotalTime>
  <Words>205</Words>
  <Application>Microsoft Office PowerPoint</Application>
  <PresentationFormat>Widescreen</PresentationFormat>
  <Paragraphs>4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Proxima Nova</vt:lpstr>
      <vt:lpstr>Wingdings</vt:lpstr>
      <vt:lpstr>3_Ravi Powerpoint Template</vt:lpstr>
      <vt:lpstr>1_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mpton, Alex</dc:creator>
  <cp:lastModifiedBy>Paul Carageorge | Gulli Food Distributors</cp:lastModifiedBy>
  <cp:revision>2</cp:revision>
  <dcterms:created xsi:type="dcterms:W3CDTF">2024-05-28T01:24:55Z</dcterms:created>
  <dcterms:modified xsi:type="dcterms:W3CDTF">2025-05-01T04:40:59Z</dcterms:modified>
</cp:coreProperties>
</file>